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3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notesMasterIdLst>
    <p:notesMasterId r:id="rId25"/>
  </p:notesMasterIdLst>
  <p:sldIdLst>
    <p:sldId id="384" r:id="rId3"/>
    <p:sldId id="2147375232" r:id="rId4"/>
    <p:sldId id="2147375233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147375238" r:id="rId20"/>
    <p:sldId id="575" r:id="rId21"/>
    <p:sldId id="274" r:id="rId22"/>
    <p:sldId id="275" r:id="rId23"/>
    <p:sldId id="276" r:id="rId24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8" d="100"/>
          <a:sy n="108" d="100"/>
        </p:scale>
        <p:origin x="270" y="10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F0397-15DD-4711-8F9E-CCB67EA7B2E8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1BF353-E4C9-4216-BD5A-E64CC86ADE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87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126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718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66688" y="617538"/>
            <a:ext cx="7113588" cy="40020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48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1.xml"/><Relationship Id="rId7" Type="http://schemas.openxmlformats.org/officeDocument/2006/relationships/image" Target="../media/image8.jpe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66.xml"/><Relationship Id="rId7" Type="http://schemas.openxmlformats.org/officeDocument/2006/relationships/image" Target="../media/image7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4.emf"/><Relationship Id="rId4" Type="http://schemas.openxmlformats.org/officeDocument/2006/relationships/tags" Target="../tags/tag67.xml"/><Relationship Id="rId9" Type="http://schemas.openxmlformats.org/officeDocument/2006/relationships/image" Target="../media/image5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0.xml"/><Relationship Id="rId7" Type="http://schemas.openxmlformats.org/officeDocument/2006/relationships/image" Target="../media/image4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3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5.xml"/><Relationship Id="rId7" Type="http://schemas.openxmlformats.org/officeDocument/2006/relationships/image" Target="../media/image8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0.xml"/><Relationship Id="rId7" Type="http://schemas.openxmlformats.org/officeDocument/2006/relationships/image" Target="../media/image4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9.xml"/><Relationship Id="rId7" Type="http://schemas.openxmlformats.org/officeDocument/2006/relationships/image" Target="../media/image4.emf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4.emf"/><Relationship Id="rId4" Type="http://schemas.openxmlformats.org/officeDocument/2006/relationships/tags" Target="../tags/tag8.xml"/><Relationship Id="rId9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75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90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567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61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353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94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843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94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63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27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1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2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94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12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0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141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2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45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5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2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62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07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2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10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73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290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56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13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26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7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39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11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79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72D4E4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7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75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333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093A6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83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128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16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36146" y="2013712"/>
            <a:ext cx="4910455" cy="35782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514471" y="1213612"/>
            <a:ext cx="5017770" cy="4530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23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75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6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7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26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08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33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8" name="Rectangle 1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 bwMode="white">
          <a:xfrm>
            <a:off x="924979" y="5715178"/>
            <a:ext cx="8408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cg.com</a:t>
            </a:r>
          </a:p>
        </p:txBody>
      </p:sp>
      <p:sp>
        <p:nvSpPr>
          <p:cNvPr id="20" name="Freeform 19"/>
          <p:cNvSpPr>
            <a:spLocks noChangeAspect="1"/>
          </p:cNvSpPr>
          <p:nvPr userDrawn="1">
            <p:custDataLst>
              <p:tags r:id="rId2"/>
            </p:custDataLst>
          </p:nvPr>
        </p:nvSpPr>
        <p:spPr bwMode="auto">
          <a:xfrm>
            <a:off x="2676858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EE11C-031B-4C42-9B0B-F50BD512DF89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gradFill flip="none" rotWithShape="1">
            <a:gsLst>
              <a:gs pos="0">
                <a:srgbClr val="275D7E"/>
              </a:gs>
              <a:gs pos="100000">
                <a:srgbClr val="31C0D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0FF7465-FFF9-8A42-A878-CBC53455788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58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32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3" name="Picture 92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34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746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5" name="Freeform 14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64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3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093A6"/>
          </a:solidFill>
          <a:ln w="9525" cap="rnd" cmpd="sng" algn="ctr">
            <a:solidFill>
              <a:srgbClr val="2093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24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892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88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78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76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6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9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888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72D4E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46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065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3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8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1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98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59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40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9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483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86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16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9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5539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362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183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2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329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75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780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24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79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88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91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4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739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0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8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8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54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72D4E4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99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75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040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093A6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86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684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03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157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2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97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0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8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11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332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96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04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69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300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 bwMode="white">
          <a:xfrm>
            <a:off x="924979" y="5715178"/>
            <a:ext cx="8408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cg.com</a:t>
            </a:r>
          </a:p>
        </p:txBody>
      </p:sp>
      <p:sp>
        <p:nvSpPr>
          <p:cNvPr id="19" name="Freeform 18"/>
          <p:cNvSpPr>
            <a:spLocks noChangeAspect="1"/>
          </p:cNvSpPr>
          <p:nvPr userDrawn="1">
            <p:custDataLst>
              <p:tags r:id="rId2"/>
            </p:custDataLst>
          </p:nvPr>
        </p:nvSpPr>
        <p:spPr bwMode="auto">
          <a:xfrm>
            <a:off x="2676858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BEE11C-031B-4C42-9B0B-F50BD512DF89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gradFill flip="none" rotWithShape="1">
            <a:gsLst>
              <a:gs pos="0">
                <a:srgbClr val="275D7E"/>
              </a:gs>
              <a:gs pos="100000">
                <a:srgbClr val="31C0D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0FF7465-FFF9-8A42-A878-CBC53455788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6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606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51" name="Picture 5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52" name="TextBox 5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81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067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65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5697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10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030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1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15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98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040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72D4E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6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4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8" name="Freeform 17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121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779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62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3873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72D4E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73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059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13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738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72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215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6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13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022607" y="0"/>
            <a:ext cx="2146786" cy="32110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44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56.xml"/><Relationship Id="rId55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69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3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59.xml"/><Relationship Id="rId58" Type="http://schemas.openxmlformats.org/officeDocument/2006/relationships/slideLayout" Target="../slideLayouts/slideLayout64.xml"/><Relationship Id="rId6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Relationship Id="rId57" Type="http://schemas.openxmlformats.org/officeDocument/2006/relationships/slideLayout" Target="../slideLayouts/slideLayout63.xml"/><Relationship Id="rId6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slideLayout" Target="../slideLayouts/slideLayout58.xml"/><Relationship Id="rId60" Type="http://schemas.openxmlformats.org/officeDocument/2006/relationships/slideLayout" Target="../slideLayouts/slideLayout66.xml"/><Relationship Id="rId6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56" Type="http://schemas.openxmlformats.org/officeDocument/2006/relationships/slideLayout" Target="../slideLayouts/slideLayout62.xml"/><Relationship Id="rId64" Type="http://schemas.openxmlformats.org/officeDocument/2006/relationships/slideLayout" Target="../slideLayouts/slideLayout70.xml"/><Relationship Id="rId69" Type="http://schemas.openxmlformats.org/officeDocument/2006/relationships/tags" Target="../tags/tag3.xml"/><Relationship Id="rId8" Type="http://schemas.openxmlformats.org/officeDocument/2006/relationships/slideLayout" Target="../slideLayouts/slideLayout14.xml"/><Relationship Id="rId51" Type="http://schemas.openxmlformats.org/officeDocument/2006/relationships/slideLayout" Target="../slideLayouts/slideLayout57.xml"/><Relationship Id="rId72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59" Type="http://schemas.openxmlformats.org/officeDocument/2006/relationships/slideLayout" Target="../slideLayouts/slideLayout65.xml"/><Relationship Id="rId67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26.xml"/><Relationship Id="rId41" Type="http://schemas.openxmlformats.org/officeDocument/2006/relationships/slideLayout" Target="../slideLayouts/slideLayout47.xml"/><Relationship Id="rId54" Type="http://schemas.openxmlformats.org/officeDocument/2006/relationships/slideLayout" Target="../slideLayouts/slideLayout60.xml"/><Relationship Id="rId62" Type="http://schemas.openxmlformats.org/officeDocument/2006/relationships/slideLayout" Target="../slideLayouts/slideLayout68.xml"/><Relationship Id="rId7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27375" y="389229"/>
            <a:ext cx="1641475" cy="5130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14146" y="1671550"/>
            <a:ext cx="6383655" cy="2092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236371" y="6403915"/>
            <a:ext cx="259079" cy="1530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525A5A"/>
                </a:solidFill>
                <a:latin typeface="Verdana"/>
                <a:cs typeface="Verdana"/>
              </a:defRPr>
            </a:lvl1pPr>
          </a:lstStyle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‹#›</a:t>
            </a:fld>
            <a:endParaRPr spc="-3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34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897030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093A6"/>
          </a:solidFill>
          <a:ln w="9525" cap="rnd" cmpd="sng" algn="ctr">
            <a:solidFill>
              <a:srgbClr val="2093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155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  <p:sldLayoutId id="2147483722" r:id="rId56"/>
    <p:sldLayoutId id="2147483723" r:id="rId57"/>
    <p:sldLayoutId id="2147483724" r:id="rId58"/>
    <p:sldLayoutId id="2147483725" r:id="rId59"/>
    <p:sldLayoutId id="2147483726" r:id="rId60"/>
    <p:sldLayoutId id="2147483727" r:id="rId61"/>
    <p:sldLayoutId id="2147483728" r:id="rId62"/>
    <p:sldLayoutId id="2147483729" r:id="rId63"/>
    <p:sldLayoutId id="2147483730" r:id="rId64"/>
    <p:sldLayoutId id="2147483731" r:id="rId65"/>
    <p:sldLayoutId id="2147483732" r:id="rId66"/>
    <p:sldLayoutId id="214748373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2093A6"/>
          </a:solidFill>
          <a:latin typeface="Trebuchet MS" panose="020B0603020202020204" pitchFamily="34" charset="0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•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093A6"/>
        </a:buClr>
        <a:buFont typeface="Trebuchet MS" panose="020B0603020202020204" pitchFamily="34" charset="0"/>
        <a:buChar char="–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600" kern="120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600" b="1" kern="120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2093A6"/>
        </a:buClr>
        <a:buFont typeface="Arial" panose="020B0604020202020204" pitchFamily="34" charset="0"/>
        <a:buChar char="•"/>
        <a:defRPr lang="en-US" sz="1600" kern="120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093A6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093A6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093A6"/>
        </a:buClr>
        <a:buFont typeface="Arial" panose="020B0604020202020204" pitchFamily="34" charset="0"/>
        <a:buChar char="​"/>
        <a:defRPr lang="en-US" sz="2400" kern="1200" baseline="0" dirty="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slide" Target="slide21.xml"/><Relationship Id="rId18" Type="http://schemas.openxmlformats.org/officeDocument/2006/relationships/image" Target="../media/image16.emf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slide" Target="slide9.xml"/><Relationship Id="rId17" Type="http://schemas.openxmlformats.org/officeDocument/2006/relationships/oleObject" Target="../embeddings/oleObject73.bin"/><Relationship Id="rId2" Type="http://schemas.openxmlformats.org/officeDocument/2006/relationships/tags" Target="../tags/tag162.xml"/><Relationship Id="rId16" Type="http://schemas.openxmlformats.org/officeDocument/2006/relationships/slide" Target="slide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65.xml"/><Relationship Id="rId15" Type="http://schemas.openxmlformats.org/officeDocument/2006/relationships/image" Target="../media/image15.emf"/><Relationship Id="rId10" Type="http://schemas.openxmlformats.org/officeDocument/2006/relationships/tags" Target="../tags/tag17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slide" Target="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73.xml"/><Relationship Id="rId7" Type="http://schemas.openxmlformats.org/officeDocument/2006/relationships/image" Target="../media/image36.emf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slide" Target="slide18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slide" Target="slide21.xml"/><Relationship Id="rId17" Type="http://schemas.openxmlformats.org/officeDocument/2006/relationships/image" Target="../media/image16.emf"/><Relationship Id="rId2" Type="http://schemas.openxmlformats.org/officeDocument/2006/relationships/tags" Target="../tags/tag151.xml"/><Relationship Id="rId16" Type="http://schemas.openxmlformats.org/officeDocument/2006/relationships/oleObject" Target="../embeddings/oleObject71.bin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slide" Target="slide9.xml"/><Relationship Id="rId5" Type="http://schemas.openxmlformats.org/officeDocument/2006/relationships/tags" Target="../tags/tag154.xml"/><Relationship Id="rId15" Type="http://schemas.openxmlformats.org/officeDocument/2006/relationships/slide" Target="slide6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image" Target="../media/image22.jpg"/><Relationship Id="rId7" Type="http://schemas.openxmlformats.org/officeDocument/2006/relationships/image" Target="../media/image2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23.jpg"/><Relationship Id="rId9" Type="http://schemas.openxmlformats.org/officeDocument/2006/relationships/image" Target="../media/image2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L&amp;D – </a:t>
            </a:r>
            <a:r>
              <a:rPr lang="en-US" err="1"/>
              <a:t>VoC</a:t>
            </a:r>
            <a:endParaRPr lang="en-US">
              <a:latin typeface="Trebuchet MS" panose="020B0603020202020204" pitchFamily="34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litative Insights readout &amp; Leadership discussion</a:t>
            </a:r>
            <a:endParaRPr lang="en-US">
              <a:latin typeface="Trebuchet MS" panose="020B0603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>
                <a:latin typeface="Trebuchet MS" panose="020B0603020202020204" pitchFamily="34" charset="0"/>
              </a:rPr>
              <a:t>October 12</a:t>
            </a:r>
            <a:r>
              <a:rPr lang="en-US" baseline="30000">
                <a:latin typeface="Trebuchet MS" panose="020B0603020202020204" pitchFamily="34" charset="0"/>
              </a:rPr>
              <a:t>th</a:t>
            </a:r>
            <a:r>
              <a:rPr lang="en-US">
                <a:latin typeface="Trebuchet MS" panose="020B0603020202020204" pitchFamily="34" charset="0"/>
              </a:rPr>
              <a:t>, 202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59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655320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85" dirty="0">
                <a:solidFill>
                  <a:srgbClr val="212721"/>
                </a:solidFill>
              </a:rPr>
              <a:t>Missing</a:t>
            </a:r>
            <a:r>
              <a:rPr spc="25" dirty="0">
                <a:solidFill>
                  <a:srgbClr val="212721"/>
                </a:solidFill>
              </a:rPr>
              <a:t> </a:t>
            </a:r>
            <a:r>
              <a:rPr spc="-40" dirty="0">
                <a:solidFill>
                  <a:srgbClr val="212721"/>
                </a:solidFill>
              </a:rPr>
              <a:t>quick</a:t>
            </a:r>
            <a:r>
              <a:rPr spc="25" dirty="0">
                <a:solidFill>
                  <a:srgbClr val="212721"/>
                </a:solidFill>
              </a:rPr>
              <a:t> </a:t>
            </a:r>
            <a:r>
              <a:rPr spc="90" dirty="0">
                <a:solidFill>
                  <a:srgbClr val="212721"/>
                </a:solidFill>
              </a:rPr>
              <a:t>&amp;</a:t>
            </a:r>
            <a:r>
              <a:rPr spc="30" dirty="0">
                <a:solidFill>
                  <a:srgbClr val="212721"/>
                </a:solidFill>
              </a:rPr>
              <a:t> </a:t>
            </a:r>
            <a:r>
              <a:rPr spc="25" dirty="0">
                <a:solidFill>
                  <a:srgbClr val="212721"/>
                </a:solidFill>
              </a:rPr>
              <a:t>simple </a:t>
            </a:r>
            <a:r>
              <a:rPr spc="70" dirty="0">
                <a:solidFill>
                  <a:srgbClr val="212721"/>
                </a:solidFill>
              </a:rPr>
              <a:t>learning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7375" y="1254855"/>
            <a:ext cx="6661150" cy="10674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85"/>
              </a:spcBef>
            </a:pPr>
            <a:r>
              <a:rPr sz="18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Learner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95" dirty="0">
                <a:solidFill>
                  <a:srgbClr val="1ED75F"/>
                </a:solidFill>
                <a:latin typeface="Century Gothic"/>
                <a:cs typeface="Century Gothic"/>
              </a:rPr>
              <a:t>want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support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“bounce”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between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65" dirty="0">
                <a:solidFill>
                  <a:srgbClr val="1ED75F"/>
                </a:solidFill>
                <a:latin typeface="Century Gothic"/>
                <a:cs typeface="Century Gothic"/>
              </a:rPr>
              <a:t>offering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 </a:t>
            </a:r>
            <a:r>
              <a:rPr sz="1800" b="1" spc="-484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50" dirty="0">
                <a:solidFill>
                  <a:srgbClr val="1ED75F"/>
                </a:solidFill>
                <a:latin typeface="Century Gothic"/>
                <a:cs typeface="Century Gothic"/>
              </a:rPr>
              <a:t>make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meaningful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110" dirty="0">
                <a:solidFill>
                  <a:srgbClr val="1ED75F"/>
                </a:solidFill>
                <a:latin typeface="Century Gothic"/>
                <a:cs typeface="Century Gothic"/>
              </a:rPr>
              <a:t>“fast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dives”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into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65" dirty="0">
                <a:solidFill>
                  <a:srgbClr val="1ED75F"/>
                </a:solidFill>
                <a:latin typeface="Century Gothic"/>
                <a:cs typeface="Century Gothic"/>
              </a:rPr>
              <a:t>out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of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content.</a:t>
            </a:r>
            <a:endParaRPr sz="1800">
              <a:latin typeface="Century Gothic"/>
              <a:cs typeface="Century Gothic"/>
            </a:endParaRPr>
          </a:p>
          <a:p>
            <a:pPr marL="12700">
              <a:lnSpc>
                <a:spcPct val="100000"/>
              </a:lnSpc>
              <a:spcBef>
                <a:spcPts val="1585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meet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learner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needs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i="1" spc="10" dirty="0">
                <a:solidFill>
                  <a:srgbClr val="525A5A"/>
                </a:solidFill>
                <a:latin typeface="Century Gothic"/>
                <a:cs typeface="Century Gothic"/>
              </a:rPr>
              <a:t>(incremental)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54363" y="2495646"/>
            <a:ext cx="6671945" cy="219519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28295" marR="54610" indent="-316230">
              <a:lnSpc>
                <a:spcPct val="101000"/>
              </a:lnSpc>
              <a:spcBef>
                <a:spcPts val="85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5" dirty="0">
                <a:solidFill>
                  <a:srgbClr val="525A5A"/>
                </a:solidFill>
                <a:latin typeface="Century Gothic"/>
                <a:cs typeface="Century Gothic"/>
              </a:rPr>
              <a:t>Visually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5" dirty="0">
                <a:solidFill>
                  <a:srgbClr val="525A5A"/>
                </a:solidFill>
                <a:latin typeface="Century Gothic"/>
                <a:cs typeface="Century Gothic"/>
              </a:rPr>
              <a:t>differentiat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conten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in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0" dirty="0">
                <a:solidFill>
                  <a:srgbClr val="525A5A"/>
                </a:solidFill>
                <a:latin typeface="Century Gothic"/>
                <a:cs typeface="Century Gothic"/>
              </a:rPr>
              <a:t>LAB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search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5" dirty="0">
                <a:solidFill>
                  <a:srgbClr val="525A5A"/>
                </a:solidFill>
                <a:latin typeface="Century Gothic"/>
                <a:cs typeface="Century Gothic"/>
              </a:rPr>
              <a:t>results</a:t>
            </a:r>
            <a:r>
              <a:rPr sz="1300" spc="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Us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image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ha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signify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what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conten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about.</a:t>
            </a:r>
            <a:endParaRPr sz="1300">
              <a:latin typeface="Verdana"/>
              <a:cs typeface="Verdana"/>
            </a:endParaRPr>
          </a:p>
          <a:p>
            <a:pPr marL="328295" indent="-316230">
              <a:lnSpc>
                <a:spcPct val="100000"/>
              </a:lnSpc>
              <a:spcBef>
                <a:spcPts val="99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140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descriptions,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highligh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information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learners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user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discern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85" dirty="0">
                <a:solidFill>
                  <a:srgbClr val="525A5A"/>
                </a:solidFill>
                <a:latin typeface="Century Gothic"/>
                <a:cs typeface="Century Gothic"/>
              </a:rPr>
              <a:t>relevance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:</a:t>
            </a:r>
            <a:endParaRPr sz="1300">
              <a:latin typeface="Verdana"/>
              <a:cs typeface="Verdana"/>
            </a:endParaRPr>
          </a:p>
          <a:p>
            <a:pPr marL="328295" marR="24130">
              <a:lnSpc>
                <a:spcPct val="101000"/>
              </a:lnSpc>
            </a:pPr>
            <a:r>
              <a:rPr sz="1300" spc="5" dirty="0">
                <a:solidFill>
                  <a:srgbClr val="525A5A"/>
                </a:solidFill>
                <a:latin typeface="Verdana"/>
                <a:cs typeface="Verdana"/>
              </a:rPr>
              <a:t>Ho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ol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content?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15" dirty="0">
                <a:solidFill>
                  <a:srgbClr val="525A5A"/>
                </a:solidFill>
                <a:latin typeface="Verdana"/>
                <a:cs typeface="Verdana"/>
              </a:rPr>
              <a:t>Wh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wrot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presente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this?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h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ime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a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someon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like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me?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01000"/>
              </a:lnSpc>
              <a:spcBef>
                <a:spcPts val="969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Remove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system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erms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in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descriptions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140" dirty="0">
                <a:solidFill>
                  <a:srgbClr val="525A5A"/>
                </a:solidFill>
                <a:latin typeface="Verdana"/>
                <a:cs typeface="Verdana"/>
              </a:rPr>
              <a:t>(e.g.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clas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numbers)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ha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ar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no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meaningful </a:t>
            </a:r>
            <a:r>
              <a:rPr sz="1300" spc="-4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learners.</a:t>
            </a:r>
            <a:endParaRPr sz="1300">
              <a:latin typeface="Verdana"/>
              <a:cs typeface="Verdana"/>
            </a:endParaRPr>
          </a:p>
          <a:p>
            <a:pPr marL="328295" marR="70485" indent="-316230">
              <a:lnSpc>
                <a:spcPct val="101000"/>
              </a:lnSpc>
              <a:spcBef>
                <a:spcPts val="975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Provid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" dirty="0">
                <a:solidFill>
                  <a:srgbClr val="525A5A"/>
                </a:solidFill>
                <a:latin typeface="Verdana"/>
                <a:cs typeface="Verdana"/>
              </a:rPr>
              <a:t>a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fast,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apparen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mean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for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learner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sav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conten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and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easily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return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60" dirty="0">
                <a:solidFill>
                  <a:srgbClr val="525A5A"/>
                </a:solidFill>
                <a:latin typeface="Century Gothic"/>
                <a:cs typeface="Century Gothic"/>
              </a:rPr>
              <a:t>it </a:t>
            </a:r>
            <a:r>
              <a:rPr sz="1300" b="1" spc="-34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35" dirty="0">
                <a:solidFill>
                  <a:srgbClr val="525A5A"/>
                </a:solidFill>
                <a:latin typeface="Century Gothic"/>
                <a:cs typeface="Century Gothic"/>
              </a:rPr>
              <a:t>without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hunting</a:t>
            </a: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Check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“back”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behavi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from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video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slid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decks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27375" y="4788123"/>
            <a:ext cx="5067935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meet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learner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needs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i="1" spc="-5" dirty="0">
                <a:solidFill>
                  <a:srgbClr val="525A5A"/>
                </a:solidFill>
                <a:latin typeface="Century Gothic"/>
                <a:cs typeface="Century Gothic"/>
              </a:rPr>
              <a:t>(step-change)</a:t>
            </a:r>
            <a:r>
              <a:rPr sz="19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54363" y="5210271"/>
            <a:ext cx="6131560" cy="42354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28295" marR="5080" indent="-316230">
              <a:lnSpc>
                <a:spcPct val="101000"/>
              </a:lnSpc>
              <a:spcBef>
                <a:spcPts val="85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Implement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ntegrate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ools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with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features,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functionality,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behavior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hat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con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orm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bes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t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-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-b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ee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U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X</a:t>
            </a:r>
            <a:r>
              <a:rPr sz="1300" spc="-17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9677475" y="1601601"/>
            <a:ext cx="2131695" cy="825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Learners </a:t>
            </a:r>
            <a:r>
              <a:rPr sz="1000" b="1" spc="-50" dirty="0">
                <a:solidFill>
                  <a:srgbClr val="1ED75F"/>
                </a:solidFill>
                <a:latin typeface="Century Gothic"/>
                <a:cs typeface="Century Gothic"/>
              </a:rPr>
              <a:t>experience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friction in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navigating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content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</a:t>
            </a:r>
            <a:r>
              <a:rPr sz="1000" spc="1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20" dirty="0">
                <a:solidFill>
                  <a:srgbClr val="FFFFFF"/>
                </a:solidFill>
                <a:latin typeface="Verdana"/>
                <a:cs typeface="Verdana"/>
              </a:rPr>
              <a:t>AB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du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combinatio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usabili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issu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and  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ﬂa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visu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hie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a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ch</a:t>
            </a:r>
            <a:r>
              <a:rPr sz="1000" spc="-90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677479" y="2889967"/>
            <a:ext cx="1767839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ar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ccus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ome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pla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orm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ha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l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5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them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earch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consum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90" dirty="0">
                <a:solidFill>
                  <a:srgbClr val="FFFFFF"/>
                </a:solidFill>
                <a:latin typeface="Verdana"/>
                <a:cs typeface="Verdana"/>
              </a:rPr>
              <a:t>“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small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bite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”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conten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quick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r>
              <a:rPr sz="1000" spc="-1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The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y  </a:t>
            </a:r>
            <a:r>
              <a:rPr sz="1000" b="1" spc="-100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xpec</a:t>
            </a:r>
            <a:r>
              <a:rPr sz="10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inte</a:t>
            </a:r>
            <a:r>
              <a:rPr sz="10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-55" dirty="0">
                <a:solidFill>
                  <a:srgbClr val="1ED75F"/>
                </a:solidFill>
                <a:latin typeface="Century Gothic"/>
                <a:cs typeface="Century Gothic"/>
              </a:rPr>
              <a:t>ace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suppo</a:t>
            </a:r>
            <a:r>
              <a:rPr sz="1000" b="1" spc="4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 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heir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preferred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behavio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9199434" y="1633360"/>
            <a:ext cx="240029" cy="3249930"/>
            <a:chOff x="9199434" y="1633360"/>
            <a:chExt cx="240029" cy="3249930"/>
          </a:xfrm>
        </p:grpSpPr>
        <p:sp>
          <p:nvSpPr>
            <p:cNvPr id="14" name="object 14"/>
            <p:cNvSpPr/>
            <p:nvPr/>
          </p:nvSpPr>
          <p:spPr>
            <a:xfrm>
              <a:off x="9319284" y="1873061"/>
              <a:ext cx="0" cy="3010535"/>
            </a:xfrm>
            <a:custGeom>
              <a:avLst/>
              <a:gdLst/>
              <a:ahLst/>
              <a:cxnLst/>
              <a:rect l="l" t="t" r="r" b="b"/>
              <a:pathLst>
                <a:path h="3010535">
                  <a:moveTo>
                    <a:pt x="0" y="0"/>
                  </a:moveTo>
                  <a:lnTo>
                    <a:pt x="0" y="30101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9199422" y="2909303"/>
              <a:ext cx="240029" cy="1974214"/>
            </a:xfrm>
            <a:custGeom>
              <a:avLst/>
              <a:gdLst/>
              <a:ahLst/>
              <a:cxnLst/>
              <a:rect l="l" t="t" r="r" b="b"/>
              <a:pathLst>
                <a:path w="240029" h="1974214">
                  <a:moveTo>
                    <a:pt x="239699" y="1854136"/>
                  </a:moveTo>
                  <a:lnTo>
                    <a:pt x="119849" y="1734286"/>
                  </a:lnTo>
                  <a:lnTo>
                    <a:pt x="0" y="1854136"/>
                  </a:lnTo>
                  <a:lnTo>
                    <a:pt x="119849" y="1973986"/>
                  </a:lnTo>
                  <a:lnTo>
                    <a:pt x="239699" y="1854136"/>
                  </a:lnTo>
                  <a:close/>
                </a:path>
                <a:path w="240029" h="1974214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10</a:t>
            </a:fld>
            <a:endParaRPr spc="-30" dirty="0"/>
          </a:p>
        </p:txBody>
      </p:sp>
      <p:sp>
        <p:nvSpPr>
          <p:cNvPr id="18" name="object 18"/>
          <p:cNvSpPr txBox="1"/>
          <p:nvPr/>
        </p:nvSpPr>
        <p:spPr>
          <a:xfrm>
            <a:off x="8481924" y="2897461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98581" y="4638766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657414" y="4611804"/>
            <a:ext cx="2013585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Learners 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who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found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t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difﬁcult to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80" dirty="0">
                <a:solidFill>
                  <a:srgbClr val="FFFFFF"/>
                </a:solidFill>
                <a:latin typeface="Verdana"/>
                <a:cs typeface="Verdana"/>
              </a:rPr>
              <a:t>m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wi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ly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in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ormatio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in 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20" dirty="0">
                <a:solidFill>
                  <a:srgbClr val="FFFFFF"/>
                </a:solidFill>
                <a:latin typeface="Verdana"/>
                <a:cs typeface="Verdana"/>
              </a:rPr>
              <a:t>AB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K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urne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xternal 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sou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c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10" dirty="0">
                <a:solidFill>
                  <a:srgbClr val="FFFFFF"/>
                </a:solidFill>
                <a:latin typeface="Verdana"/>
                <a:cs typeface="Verdana"/>
              </a:rPr>
              <a:t>(</a:t>
            </a:r>
            <a:r>
              <a:rPr sz="1000" spc="-90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u</a:t>
            </a:r>
            <a:r>
              <a:rPr sz="1000" spc="-110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ube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c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)</a:t>
            </a:r>
            <a:r>
              <a:rPr sz="1000" spc="-1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5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v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en 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though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these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had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less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relevant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esult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ha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conten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K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20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B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645249" y="603139"/>
            <a:ext cx="278066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20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90956"/>
            <a:ext cx="7117080" cy="4978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100" spc="130" dirty="0">
                <a:solidFill>
                  <a:srgbClr val="212721"/>
                </a:solidFill>
              </a:rPr>
              <a:t>Poor</a:t>
            </a:r>
            <a:r>
              <a:rPr sz="3100" spc="15" dirty="0">
                <a:solidFill>
                  <a:srgbClr val="212721"/>
                </a:solidFill>
              </a:rPr>
              <a:t> </a:t>
            </a:r>
            <a:r>
              <a:rPr sz="3100" spc="-30" dirty="0">
                <a:solidFill>
                  <a:srgbClr val="212721"/>
                </a:solidFill>
              </a:rPr>
              <a:t>discovery,</a:t>
            </a:r>
            <a:r>
              <a:rPr sz="3100" spc="20" dirty="0">
                <a:solidFill>
                  <a:srgbClr val="212721"/>
                </a:solidFill>
              </a:rPr>
              <a:t> </a:t>
            </a:r>
            <a:r>
              <a:rPr sz="3100" spc="50" dirty="0">
                <a:solidFill>
                  <a:srgbClr val="212721"/>
                </a:solidFill>
              </a:rPr>
              <a:t>navigation,</a:t>
            </a:r>
            <a:r>
              <a:rPr sz="3100" spc="20" dirty="0">
                <a:solidFill>
                  <a:srgbClr val="212721"/>
                </a:solidFill>
              </a:rPr>
              <a:t> </a:t>
            </a:r>
            <a:r>
              <a:rPr sz="3100" spc="105" dirty="0">
                <a:solidFill>
                  <a:srgbClr val="212721"/>
                </a:solidFill>
              </a:rPr>
              <a:t>usability</a:t>
            </a:r>
            <a:endParaRPr sz="3100"/>
          </a:p>
        </p:txBody>
      </p:sp>
      <p:sp>
        <p:nvSpPr>
          <p:cNvPr id="6" name="object 6"/>
          <p:cNvSpPr txBox="1"/>
          <p:nvPr/>
        </p:nvSpPr>
        <p:spPr>
          <a:xfrm>
            <a:off x="627374" y="1254855"/>
            <a:ext cx="6463030" cy="57594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85"/>
              </a:spcBef>
            </a:pPr>
            <a:r>
              <a:rPr sz="18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Learner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95" dirty="0">
                <a:solidFill>
                  <a:srgbClr val="1ED75F"/>
                </a:solidFill>
                <a:latin typeface="Century Gothic"/>
                <a:cs typeface="Century Gothic"/>
              </a:rPr>
              <a:t>want</a:t>
            </a:r>
            <a:r>
              <a:rPr sz="18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better</a:t>
            </a:r>
            <a:r>
              <a:rPr sz="18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descriptions,</a:t>
            </a:r>
            <a:r>
              <a:rPr sz="18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quick</a:t>
            </a:r>
            <a:r>
              <a:rPr sz="18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acces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dirty="0">
                <a:solidFill>
                  <a:srgbClr val="1ED75F"/>
                </a:solidFill>
                <a:latin typeface="Century Gothic"/>
                <a:cs typeface="Century Gothic"/>
              </a:rPr>
              <a:t>on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detail </a:t>
            </a:r>
            <a:r>
              <a:rPr sz="1800" b="1" spc="-49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pages,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use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message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40" dirty="0">
                <a:solidFill>
                  <a:srgbClr val="1ED75F"/>
                </a:solidFill>
                <a:latin typeface="Century Gothic"/>
                <a:cs typeface="Century Gothic"/>
              </a:rPr>
              <a:t>a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a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direct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link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content.</a:t>
            </a:r>
            <a:endParaRPr sz="18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7374" y="2206847"/>
            <a:ext cx="4982845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meet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learner</a:t>
            </a:r>
            <a:r>
              <a:rPr sz="1900" b="1" spc="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needs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i="1" spc="10" dirty="0">
                <a:solidFill>
                  <a:srgbClr val="525A5A"/>
                </a:solidFill>
                <a:latin typeface="Century Gothic"/>
                <a:cs typeface="Century Gothic"/>
              </a:rPr>
              <a:t>(incremental)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4363" y="2695671"/>
            <a:ext cx="5916295" cy="209994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28295" marR="322580" indent="-316230">
              <a:lnSpc>
                <a:spcPct val="101000"/>
              </a:lnSpc>
              <a:spcBef>
                <a:spcPts val="85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30" dirty="0">
                <a:solidFill>
                  <a:srgbClr val="525A5A"/>
                </a:solidFill>
                <a:latin typeface="Century Gothic"/>
                <a:cs typeface="Century Gothic"/>
              </a:rPr>
              <a:t>Suppor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“extrem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60" dirty="0">
                <a:solidFill>
                  <a:srgbClr val="525A5A"/>
                </a:solidFill>
                <a:latin typeface="Century Gothic"/>
                <a:cs typeface="Century Gothic"/>
              </a:rPr>
              <a:t>ease”: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creat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shor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description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direc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link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n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Descri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p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ion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page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300" spc="-17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01000"/>
              </a:lnSpc>
              <a:spcBef>
                <a:spcPts val="969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F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mandatory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raining,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b="1" spc="-70" dirty="0">
                <a:solidFill>
                  <a:srgbClr val="525A5A"/>
                </a:solidFill>
                <a:latin typeface="Century Gothic"/>
                <a:cs typeface="Century Gothic"/>
              </a:rPr>
              <a:t>mak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60" dirty="0">
                <a:solidFill>
                  <a:srgbClr val="525A5A"/>
                </a:solidFill>
                <a:latin typeface="Century Gothic"/>
                <a:cs typeface="Century Gothic"/>
              </a:rPr>
              <a:t>i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easy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4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learners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scan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4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answers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p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-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-min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tions:</a:t>
            </a:r>
            <a:endParaRPr sz="1300">
              <a:latin typeface="Verdana"/>
              <a:cs typeface="Verdana"/>
            </a:endParaRPr>
          </a:p>
          <a:p>
            <a:pPr marL="671195" lvl="1" indent="-328930">
              <a:lnSpc>
                <a:spcPct val="100000"/>
              </a:lnSpc>
              <a:spcBef>
                <a:spcPts val="990"/>
              </a:spcBef>
              <a:buClr>
                <a:srgbClr val="1ED75F"/>
              </a:buClr>
              <a:buFont typeface="Arial"/>
              <a:buChar char="○"/>
              <a:tabLst>
                <a:tab pos="671195" algn="l"/>
                <a:tab pos="671830" algn="l"/>
              </a:tabLst>
            </a:pP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D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15" dirty="0">
                <a:solidFill>
                  <a:srgbClr val="525A5A"/>
                </a:solidFill>
                <a:latin typeface="Verdana"/>
                <a:cs typeface="Verdana"/>
              </a:rPr>
              <a:t>I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ha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v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a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k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h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t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ainin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g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?</a:t>
            </a:r>
            <a:endParaRPr sz="1300">
              <a:latin typeface="Verdana"/>
              <a:cs typeface="Verdana"/>
            </a:endParaRPr>
          </a:p>
          <a:p>
            <a:pPr marL="67119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71195" algn="l"/>
                <a:tab pos="671830" algn="l"/>
              </a:tabLst>
            </a:pP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H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65" dirty="0">
                <a:solidFill>
                  <a:srgbClr val="525A5A"/>
                </a:solidFill>
                <a:latin typeface="Verdana"/>
                <a:cs typeface="Verdana"/>
              </a:rPr>
              <a:t>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ong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will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a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k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?</a:t>
            </a:r>
            <a:endParaRPr sz="1300">
              <a:latin typeface="Verdana"/>
              <a:cs typeface="Verdana"/>
            </a:endParaRPr>
          </a:p>
          <a:p>
            <a:pPr marL="67119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71195" algn="l"/>
                <a:tab pos="671830" algn="l"/>
              </a:tabLst>
            </a:pPr>
            <a:r>
              <a:rPr sz="1300" spc="-10" dirty="0">
                <a:solidFill>
                  <a:srgbClr val="525A5A"/>
                </a:solidFill>
                <a:latin typeface="Verdana"/>
                <a:cs typeface="Verdana"/>
              </a:rPr>
              <a:t>Which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speciﬁc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opic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ar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covered?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(Hav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15" dirty="0">
                <a:solidFill>
                  <a:srgbClr val="525A5A"/>
                </a:solidFill>
                <a:latin typeface="Verdana"/>
                <a:cs typeface="Verdana"/>
              </a:rPr>
              <a:t>I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aken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hi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before?)</a:t>
            </a:r>
            <a:endParaRPr sz="1300">
              <a:latin typeface="Verdana"/>
              <a:cs typeface="Verdana"/>
            </a:endParaRPr>
          </a:p>
          <a:p>
            <a:pPr marL="67119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71195" algn="l"/>
                <a:tab pos="671830" algn="l"/>
              </a:tabLst>
            </a:pP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r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ther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lternativ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way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tak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h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receiv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credit?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677480" y="1601584"/>
            <a:ext cx="2116455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l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v</a:t>
            </a:r>
            <a:r>
              <a:rPr sz="1000" b="1" spc="-95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L&amp;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emails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and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essag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ha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ale</a:t>
            </a:r>
            <a:r>
              <a:rPr sz="1000" spc="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them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ption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conten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bu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y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ﬁn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0" dirty="0">
                <a:solidFill>
                  <a:srgbClr val="1ED75F"/>
                </a:solidFill>
                <a:latin typeface="Century Gothic"/>
                <a:cs typeface="Century Gothic"/>
              </a:rPr>
              <a:t>it 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hard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scan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messages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for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a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direct </a:t>
            </a:r>
            <a:r>
              <a:rPr sz="1000" b="1" spc="-26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link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n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4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e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i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basic 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questions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677475" y="3063845"/>
            <a:ext cx="1794510" cy="625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u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essag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as  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a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tool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save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and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later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ﬁnd </a:t>
            </a:r>
            <a:r>
              <a:rPr sz="10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th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link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cou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se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9199434" y="1633360"/>
            <a:ext cx="240029" cy="3173730"/>
            <a:chOff x="9199434" y="1633360"/>
            <a:chExt cx="240029" cy="3173730"/>
          </a:xfrm>
        </p:grpSpPr>
        <p:sp>
          <p:nvSpPr>
            <p:cNvPr id="13" name="object 13"/>
            <p:cNvSpPr/>
            <p:nvPr/>
          </p:nvSpPr>
          <p:spPr>
            <a:xfrm>
              <a:off x="9319284" y="1873061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39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9199422" y="3068027"/>
              <a:ext cx="240029" cy="1739264"/>
            </a:xfrm>
            <a:custGeom>
              <a:avLst/>
              <a:gdLst/>
              <a:ahLst/>
              <a:cxnLst/>
              <a:rect l="l" t="t" r="r" b="b"/>
              <a:pathLst>
                <a:path w="240029" h="1739264">
                  <a:moveTo>
                    <a:pt x="239699" y="1619211"/>
                  </a:moveTo>
                  <a:lnTo>
                    <a:pt x="119849" y="1499362"/>
                  </a:lnTo>
                  <a:lnTo>
                    <a:pt x="0" y="1619211"/>
                  </a:lnTo>
                  <a:lnTo>
                    <a:pt x="119849" y="1739061"/>
                  </a:lnTo>
                  <a:lnTo>
                    <a:pt x="239699" y="1619211"/>
                  </a:lnTo>
                  <a:close/>
                </a:path>
                <a:path w="240029" h="1739264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11</a:t>
            </a:fld>
            <a:endParaRPr spc="-30" dirty="0"/>
          </a:p>
        </p:txBody>
      </p:sp>
      <p:sp>
        <p:nvSpPr>
          <p:cNvPr id="17" name="object 17"/>
          <p:cNvSpPr txBox="1"/>
          <p:nvPr/>
        </p:nvSpPr>
        <p:spPr>
          <a:xfrm>
            <a:off x="8481924" y="3056181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98581" y="4562566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657414" y="4535604"/>
            <a:ext cx="1950085" cy="825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sa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essag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der  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ﬁn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cou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s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lin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k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in 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environments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they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are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already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li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v</a:t>
            </a:r>
            <a:r>
              <a:rPr sz="1000" b="1" spc="-95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i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n</a:t>
            </a:r>
            <a:r>
              <a:rPr sz="1000" spc="-225" dirty="0">
                <a:solidFill>
                  <a:srgbClr val="FFFFFF"/>
                </a:solidFill>
                <a:latin typeface="Verdana"/>
                <a:cs typeface="Verdana"/>
              </a:rPr>
              <a:t>: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Outloo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lac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k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c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645249" y="603139"/>
            <a:ext cx="278066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20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11973560" cy="6637655"/>
            <a:chOff x="0" y="0"/>
            <a:chExt cx="11973560" cy="6637655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1972999" cy="6637499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0" y="0"/>
              <a:ext cx="11972290" cy="6633845"/>
            </a:xfrm>
            <a:custGeom>
              <a:avLst/>
              <a:gdLst/>
              <a:ahLst/>
              <a:cxnLst/>
              <a:rect l="l" t="t" r="r" b="b"/>
              <a:pathLst>
                <a:path w="11972290" h="6633845">
                  <a:moveTo>
                    <a:pt x="11972099" y="6633299"/>
                  </a:moveTo>
                  <a:lnTo>
                    <a:pt x="0" y="6633299"/>
                  </a:lnTo>
                  <a:lnTo>
                    <a:pt x="0" y="0"/>
                  </a:lnTo>
                  <a:lnTo>
                    <a:pt x="11972099" y="0"/>
                  </a:lnTo>
                  <a:lnTo>
                    <a:pt x="11972099" y="6633299"/>
                  </a:lnTo>
                  <a:close/>
                </a:path>
              </a:pathLst>
            </a:custGeom>
            <a:solidFill>
              <a:srgbClr val="000000">
                <a:alpha val="6077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87425" y="2601671"/>
            <a:ext cx="8679180" cy="1455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7130"/>
              </a:lnSpc>
              <a:spcBef>
                <a:spcPts val="100"/>
              </a:spcBef>
            </a:pPr>
            <a:r>
              <a:rPr sz="6100" spc="165" dirty="0"/>
              <a:t>Learning</a:t>
            </a:r>
            <a:r>
              <a:rPr sz="6100" dirty="0"/>
              <a:t> </a:t>
            </a:r>
            <a:r>
              <a:rPr sz="6100" spc="130" dirty="0"/>
              <a:t>Coordinators</a:t>
            </a:r>
            <a:endParaRPr sz="6100"/>
          </a:p>
          <a:p>
            <a:pPr marL="12700">
              <a:lnSpc>
                <a:spcPts val="4130"/>
              </a:lnSpc>
            </a:pPr>
            <a:r>
              <a:rPr sz="3600" b="0" spc="-210" dirty="0">
                <a:latin typeface="Verdana"/>
                <a:cs typeface="Verdana"/>
              </a:rPr>
              <a:t>E</a:t>
            </a:r>
            <a:r>
              <a:rPr sz="3600" b="0" spc="-229" dirty="0">
                <a:latin typeface="Verdana"/>
                <a:cs typeface="Verdana"/>
              </a:rPr>
              <a:t>x</a:t>
            </a:r>
            <a:r>
              <a:rPr sz="3600" b="0" spc="-185" dirty="0">
                <a:latin typeface="Verdana"/>
                <a:cs typeface="Verdana"/>
              </a:rPr>
              <a:t>ecuti</a:t>
            </a:r>
            <a:r>
              <a:rPr sz="3600" b="0" spc="-245" dirty="0">
                <a:latin typeface="Verdana"/>
                <a:cs typeface="Verdana"/>
              </a:rPr>
              <a:t>v</a:t>
            </a:r>
            <a:r>
              <a:rPr sz="3600" b="0" spc="-195" dirty="0">
                <a:latin typeface="Verdana"/>
                <a:cs typeface="Verdana"/>
              </a:rPr>
              <a:t>e</a:t>
            </a:r>
            <a:r>
              <a:rPr sz="3600" b="0" spc="-350" dirty="0">
                <a:latin typeface="Verdana"/>
                <a:cs typeface="Verdana"/>
              </a:rPr>
              <a:t> </a:t>
            </a:r>
            <a:r>
              <a:rPr sz="3600" b="0" spc="-280" dirty="0">
                <a:latin typeface="Verdana"/>
                <a:cs typeface="Verdana"/>
              </a:rPr>
              <a:t>Summa</a:t>
            </a:r>
            <a:r>
              <a:rPr sz="3600" b="0" spc="-50" dirty="0">
                <a:latin typeface="Verdana"/>
                <a:cs typeface="Verdana"/>
              </a:rPr>
              <a:t>r</a:t>
            </a:r>
            <a:r>
              <a:rPr sz="3600" b="0" spc="-245" dirty="0">
                <a:latin typeface="Verdana"/>
                <a:cs typeface="Verdana"/>
              </a:rPr>
              <a:t>y</a:t>
            </a:r>
            <a:endParaRPr sz="3600"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22672" y="6404423"/>
            <a:ext cx="147320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30" dirty="0">
                <a:solidFill>
                  <a:srgbClr val="525A5A"/>
                </a:solidFill>
                <a:latin typeface="Verdana"/>
                <a:cs typeface="Verdana"/>
              </a:rPr>
              <a:t>14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29996" y="1439189"/>
            <a:ext cx="11216640" cy="332740"/>
          </a:xfrm>
          <a:custGeom>
            <a:avLst/>
            <a:gdLst/>
            <a:ahLst/>
            <a:cxnLst/>
            <a:rect l="l" t="t" r="r" b="b"/>
            <a:pathLst>
              <a:path w="11216640" h="332739">
                <a:moveTo>
                  <a:pt x="3729596" y="166204"/>
                </a:moveTo>
                <a:lnTo>
                  <a:pt x="3689693" y="0"/>
                </a:lnTo>
                <a:lnTo>
                  <a:pt x="0" y="0"/>
                </a:lnTo>
                <a:lnTo>
                  <a:pt x="0" y="332397"/>
                </a:lnTo>
                <a:lnTo>
                  <a:pt x="3689693" y="332397"/>
                </a:lnTo>
                <a:lnTo>
                  <a:pt x="3729596" y="166204"/>
                </a:lnTo>
                <a:close/>
              </a:path>
              <a:path w="11216640" h="332739">
                <a:moveTo>
                  <a:pt x="7472921" y="166204"/>
                </a:moveTo>
                <a:lnTo>
                  <a:pt x="7433018" y="0"/>
                </a:lnTo>
                <a:lnTo>
                  <a:pt x="3743325" y="0"/>
                </a:lnTo>
                <a:lnTo>
                  <a:pt x="3783228" y="166204"/>
                </a:lnTo>
                <a:lnTo>
                  <a:pt x="3743325" y="332397"/>
                </a:lnTo>
                <a:lnTo>
                  <a:pt x="7433018" y="332397"/>
                </a:lnTo>
                <a:lnTo>
                  <a:pt x="7472921" y="166204"/>
                </a:lnTo>
                <a:close/>
              </a:path>
              <a:path w="11216640" h="332739">
                <a:moveTo>
                  <a:pt x="11216246" y="166204"/>
                </a:moveTo>
                <a:lnTo>
                  <a:pt x="11176343" y="0"/>
                </a:lnTo>
                <a:lnTo>
                  <a:pt x="7486650" y="0"/>
                </a:lnTo>
                <a:lnTo>
                  <a:pt x="7526553" y="166204"/>
                </a:lnTo>
                <a:lnTo>
                  <a:pt x="7486650" y="332397"/>
                </a:lnTo>
                <a:lnTo>
                  <a:pt x="11176343" y="332397"/>
                </a:lnTo>
                <a:lnTo>
                  <a:pt x="11216246" y="166204"/>
                </a:lnTo>
                <a:close/>
              </a:path>
            </a:pathLst>
          </a:custGeom>
          <a:solidFill>
            <a:srgbClr val="9E9E9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073441" y="1462633"/>
            <a:ext cx="838708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621404" algn="l"/>
                <a:tab pos="7441565" algn="l"/>
              </a:tabLst>
            </a:pPr>
            <a:r>
              <a:rPr sz="1600" spc="-65" dirty="0">
                <a:solidFill>
                  <a:srgbClr val="FFFFFF"/>
                </a:solidFill>
                <a:latin typeface="Verdana"/>
                <a:cs typeface="Verdana"/>
              </a:rPr>
              <a:t>Creation	Distribution	</a:t>
            </a:r>
            <a:r>
              <a:rPr sz="1600" spc="-55" dirty="0">
                <a:solidFill>
                  <a:srgbClr val="FFFFFF"/>
                </a:solidFill>
                <a:latin typeface="Verdana"/>
                <a:cs typeface="Verdana"/>
              </a:rPr>
              <a:t>Reporting</a:t>
            </a:r>
            <a:endParaRPr sz="1600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41300" y="2837250"/>
            <a:ext cx="30499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spc="-60" dirty="0">
                <a:latin typeface="Verdana"/>
                <a:cs typeface="Verdana"/>
              </a:rPr>
              <a:t>Inabili</a:t>
            </a:r>
            <a:r>
              <a:rPr sz="1200" spc="-50" dirty="0">
                <a:latin typeface="Verdana"/>
                <a:cs typeface="Verdana"/>
              </a:rPr>
              <a:t>t</a:t>
            </a:r>
            <a:r>
              <a:rPr sz="1200" spc="-75" dirty="0">
                <a:latin typeface="Verdana"/>
                <a:cs typeface="Verdana"/>
              </a:rPr>
              <a:t>y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t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locat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que</a:t>
            </a:r>
            <a:r>
              <a:rPr sz="1200" spc="-55" dirty="0">
                <a:latin typeface="Verdana"/>
                <a:cs typeface="Verdana"/>
              </a:rPr>
              <a:t>s</a:t>
            </a:r>
            <a:r>
              <a:rPr sz="1200" spc="-50" dirty="0">
                <a:latin typeface="Verdana"/>
                <a:cs typeface="Verdana"/>
              </a:rPr>
              <a:t>tion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withi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compl</a:t>
            </a:r>
            <a:r>
              <a:rPr sz="1200" spc="-65" dirty="0">
                <a:latin typeface="Verdana"/>
                <a:cs typeface="Verdana"/>
              </a:rPr>
              <a:t>e</a:t>
            </a:r>
            <a:r>
              <a:rPr sz="1200" spc="-50" dirty="0">
                <a:latin typeface="Verdana"/>
                <a:cs typeface="Verdana"/>
              </a:rPr>
              <a:t>x  </a:t>
            </a:r>
            <a:r>
              <a:rPr sz="1200" spc="-30" dirty="0">
                <a:latin typeface="Verdana"/>
                <a:cs typeface="Verdana"/>
              </a:rPr>
              <a:t>f</a:t>
            </a:r>
            <a:r>
              <a:rPr sz="1200" spc="-55" dirty="0">
                <a:latin typeface="Verdana"/>
                <a:cs typeface="Verdana"/>
              </a:rPr>
              <a:t>olde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s</a:t>
            </a:r>
            <a:r>
              <a:rPr sz="1200" spc="-60" dirty="0">
                <a:latin typeface="Verdana"/>
                <a:cs typeface="Verdana"/>
              </a:rPr>
              <a:t>truc</a:t>
            </a:r>
            <a:r>
              <a:rPr sz="1200" spc="-70" dirty="0">
                <a:latin typeface="Verdana"/>
                <a:cs typeface="Verdana"/>
              </a:rPr>
              <a:t>tu</a:t>
            </a:r>
            <a:r>
              <a:rPr sz="1200" spc="-75" dirty="0">
                <a:latin typeface="Verdana"/>
                <a:cs typeface="Verdana"/>
              </a:rPr>
              <a:t>r</a:t>
            </a:r>
            <a:r>
              <a:rPr sz="1200" spc="-65" dirty="0">
                <a:latin typeface="Verdana"/>
                <a:cs typeface="Verdana"/>
              </a:rPr>
              <a:t>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consume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90" dirty="0">
                <a:latin typeface="Verdana"/>
                <a:cs typeface="Verdana"/>
              </a:rPr>
              <a:t>time.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41300" y="3385890"/>
            <a:ext cx="3140075" cy="1488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985">
              <a:lnSpc>
                <a:spcPct val="100000"/>
              </a:lnSpc>
              <a:spcBef>
                <a:spcPts val="100"/>
              </a:spcBef>
            </a:pP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Inabili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</a:t>
            </a:r>
            <a:r>
              <a:rPr sz="1200" spc="-75" dirty="0">
                <a:solidFill>
                  <a:srgbClr val="E71B57"/>
                </a:solidFill>
                <a:latin typeface="Verdana"/>
                <a:cs typeface="Verdana"/>
              </a:rPr>
              <a:t>y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edit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emplated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que</a:t>
            </a:r>
            <a:r>
              <a:rPr sz="1200" spc="-55" dirty="0">
                <a:latin typeface="Verdana"/>
                <a:cs typeface="Verdana"/>
              </a:rPr>
              <a:t>s</a:t>
            </a:r>
            <a:r>
              <a:rPr sz="1200" spc="-50" dirty="0">
                <a:latin typeface="Verdana"/>
                <a:cs typeface="Verdana"/>
              </a:rPr>
              <a:t>tion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lead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to  </a:t>
            </a:r>
            <a:r>
              <a:rPr sz="1200" spc="50" dirty="0">
                <a:latin typeface="Verdana"/>
                <a:cs typeface="Verdana"/>
              </a:rPr>
              <a:t>w</a:t>
            </a:r>
            <a:r>
              <a:rPr sz="1200" spc="-70" dirty="0">
                <a:latin typeface="Verdana"/>
                <a:cs typeface="Verdana"/>
              </a:rPr>
              <a:t>or</a:t>
            </a:r>
            <a:r>
              <a:rPr sz="1200" spc="-90" dirty="0">
                <a:latin typeface="Verdana"/>
                <a:cs typeface="Verdana"/>
              </a:rPr>
              <a:t>k</a:t>
            </a:r>
            <a:r>
              <a:rPr sz="1200" spc="-50" dirty="0">
                <a:latin typeface="Verdana"/>
                <a:cs typeface="Verdana"/>
              </a:rPr>
              <a:t>arounds</a:t>
            </a:r>
            <a:r>
              <a:rPr sz="1200" spc="-160" dirty="0">
                <a:latin typeface="Verdana"/>
                <a:cs typeface="Verdana"/>
              </a:rPr>
              <a:t>,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including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uniqu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hac</a:t>
            </a:r>
            <a:r>
              <a:rPr sz="1200" spc="-60" dirty="0">
                <a:latin typeface="Verdana"/>
                <a:cs typeface="Verdana"/>
              </a:rPr>
              <a:t>k</a:t>
            </a:r>
            <a:r>
              <a:rPr sz="1200" spc="-25" dirty="0">
                <a:latin typeface="Verdana"/>
                <a:cs typeface="Verdana"/>
              </a:rPr>
              <a:t>s  </a:t>
            </a:r>
            <a:r>
              <a:rPr sz="1200" spc="-35" dirty="0">
                <a:solidFill>
                  <a:srgbClr val="E71B57"/>
                </a:solidFill>
                <a:latin typeface="Verdana"/>
                <a:cs typeface="Verdana"/>
              </a:rPr>
              <a:t>C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ann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t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us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th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sam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poole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que</a:t>
            </a:r>
            <a:r>
              <a:rPr sz="1200" spc="-55" dirty="0">
                <a:latin typeface="Verdana"/>
                <a:cs typeface="Verdana"/>
              </a:rPr>
              <a:t>s</a:t>
            </a:r>
            <a:r>
              <a:rPr sz="1200" spc="-50" dirty="0">
                <a:latin typeface="Verdana"/>
                <a:cs typeface="Verdana"/>
              </a:rPr>
              <a:t>tio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t</a:t>
            </a:r>
            <a:r>
              <a:rPr sz="1200" spc="-20" dirty="0">
                <a:latin typeface="Verdana"/>
                <a:cs typeface="Verdana"/>
              </a:rPr>
              <a:t>wice  </a:t>
            </a:r>
            <a:r>
              <a:rPr sz="1200" spc="-75" dirty="0">
                <a:solidFill>
                  <a:srgbClr val="E71B57"/>
                </a:solidFill>
                <a:latin typeface="Verdana"/>
                <a:cs typeface="Verdana"/>
              </a:rPr>
              <a:t>Erro</a:t>
            </a: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ar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35" dirty="0">
                <a:solidFill>
                  <a:srgbClr val="E71B57"/>
                </a:solidFill>
                <a:latin typeface="Verdana"/>
                <a:cs typeface="Verdana"/>
              </a:rPr>
              <a:t>di</a:t>
            </a: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f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ﬁcult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t</a:t>
            </a:r>
            <a:r>
              <a:rPr sz="1200" spc="-8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ack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d</a:t>
            </a:r>
            <a:r>
              <a:rPr sz="1200" spc="-45" dirty="0">
                <a:latin typeface="Verdana"/>
                <a:cs typeface="Verdana"/>
              </a:rPr>
              <a:t>o</a:t>
            </a:r>
            <a:r>
              <a:rPr sz="1200" dirty="0">
                <a:latin typeface="Verdana"/>
                <a:cs typeface="Verdana"/>
              </a:rPr>
              <a:t>w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25" dirty="0">
                <a:latin typeface="Verdana"/>
                <a:cs typeface="Verdana"/>
              </a:rPr>
              <a:t>and  </a:t>
            </a:r>
            <a:r>
              <a:rPr sz="1200" spc="-40" dirty="0">
                <a:latin typeface="Verdana"/>
                <a:cs typeface="Verdana"/>
              </a:rPr>
              <a:t>address</a:t>
            </a:r>
            <a:endParaRPr sz="12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</a:pPr>
            <a:r>
              <a:rPr sz="1200" spc="-20" dirty="0">
                <a:latin typeface="Verdana"/>
                <a:cs typeface="Verdana"/>
              </a:rPr>
              <a:t>Adding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facilitator-speciﬁc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questions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 signiﬁcantly</a:t>
            </a:r>
            <a:r>
              <a:rPr sz="1200" spc="-10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increases</a:t>
            </a:r>
            <a:r>
              <a:rPr sz="1200" spc="-10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manual</a:t>
            </a:r>
            <a:r>
              <a:rPr sz="1200" spc="-10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effort</a:t>
            </a:r>
            <a:r>
              <a:rPr sz="1200" spc="-10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latin typeface="Verdana"/>
                <a:cs typeface="Verdana"/>
              </a:rPr>
              <a:t>(forcing </a:t>
            </a:r>
            <a:r>
              <a:rPr sz="1200" spc="-405" dirty="0">
                <a:latin typeface="Verdana"/>
                <a:cs typeface="Verdana"/>
              </a:rPr>
              <a:t> </a:t>
            </a:r>
            <a:r>
              <a:rPr sz="1200" spc="-10" dirty="0">
                <a:latin typeface="Verdana"/>
                <a:cs typeface="Verdana"/>
              </a:rPr>
              <a:t>T</a:t>
            </a:r>
            <a:r>
              <a:rPr sz="1200" spc="-20" dirty="0">
                <a:latin typeface="Verdana"/>
                <a:cs typeface="Verdana"/>
              </a:rPr>
              <a:t>R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int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Saba)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41300" y="5031809"/>
            <a:ext cx="293624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200" spc="-40" dirty="0">
                <a:latin typeface="Verdana"/>
                <a:cs typeface="Verdana"/>
              </a:rPr>
              <a:t>Admi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ha</a:t>
            </a:r>
            <a:r>
              <a:rPr sz="1200" spc="-55" dirty="0">
                <a:latin typeface="Verdana"/>
                <a:cs typeface="Verdana"/>
              </a:rPr>
              <a:t>v</a:t>
            </a:r>
            <a:r>
              <a:rPr sz="1200" spc="-65" dirty="0">
                <a:latin typeface="Verdana"/>
                <a:cs typeface="Verdana"/>
              </a:rPr>
              <a:t>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l</a:t>
            </a:r>
            <a:r>
              <a:rPr sz="1200" spc="-7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60" dirty="0">
                <a:solidFill>
                  <a:srgbClr val="E71B57"/>
                </a:solidFill>
                <a:latin typeface="Verdana"/>
                <a:cs typeface="Verdana"/>
              </a:rPr>
              <a:t>w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cont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e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xtual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25" dirty="0">
                <a:solidFill>
                  <a:srgbClr val="E71B57"/>
                </a:solidFill>
                <a:latin typeface="Verdana"/>
                <a:cs typeface="Verdana"/>
              </a:rPr>
              <a:t>a</a:t>
            </a:r>
            <a:r>
              <a:rPr sz="1200" spc="20" dirty="0">
                <a:solidFill>
                  <a:srgbClr val="E71B57"/>
                </a:solidFill>
                <a:latin typeface="Verdana"/>
                <a:cs typeface="Verdana"/>
              </a:rPr>
              <a:t>w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arenes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f 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que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s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ion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being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as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k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ed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a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end-use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be</a:t>
            </a:r>
            <a:r>
              <a:rPr sz="1200" spc="-50" dirty="0">
                <a:latin typeface="Verdana"/>
                <a:cs typeface="Verdana"/>
              </a:rPr>
              <a:t>st  </a:t>
            </a:r>
            <a:r>
              <a:rPr sz="1200" spc="-45" dirty="0">
                <a:latin typeface="Verdana"/>
                <a:cs typeface="Verdana"/>
              </a:rPr>
              <a:t>practice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684476" y="2837250"/>
            <a:ext cx="312674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spc="-20" dirty="0">
                <a:latin typeface="Verdana"/>
                <a:cs typeface="Verdana"/>
              </a:rPr>
              <a:t>Well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know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bug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05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trigger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survey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negatively </a:t>
            </a:r>
            <a:r>
              <a:rPr sz="1200" spc="-405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impact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admi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50" dirty="0">
                <a:latin typeface="Verdana"/>
                <a:cs typeface="Verdana"/>
              </a:rPr>
              <a:t>w</a:t>
            </a:r>
            <a:r>
              <a:rPr sz="1200" spc="-65" dirty="0">
                <a:latin typeface="Verdana"/>
                <a:cs typeface="Verdana"/>
              </a:rPr>
              <a:t>orkﬂ</a:t>
            </a:r>
            <a:r>
              <a:rPr sz="1200" spc="-80" dirty="0">
                <a:latin typeface="Verdana"/>
                <a:cs typeface="Verdana"/>
              </a:rPr>
              <a:t>o</a:t>
            </a:r>
            <a:r>
              <a:rPr sz="1200" spc="60" dirty="0">
                <a:latin typeface="Verdana"/>
                <a:cs typeface="Verdana"/>
              </a:rPr>
              <a:t>w</a:t>
            </a:r>
            <a:endParaRPr sz="1200">
              <a:latin typeface="Verdana"/>
              <a:cs typeface="Verdana"/>
            </a:endParaRPr>
          </a:p>
          <a:p>
            <a:pPr marL="12700" marR="81280">
              <a:lnSpc>
                <a:spcPct val="100000"/>
              </a:lnSpc>
            </a:pPr>
            <a:r>
              <a:rPr sz="1200" spc="-20" dirty="0">
                <a:latin typeface="Verdana"/>
                <a:cs typeface="Verdana"/>
              </a:rPr>
              <a:t>L</a:t>
            </a:r>
            <a:r>
              <a:rPr sz="1200" spc="-55" dirty="0">
                <a:latin typeface="Verdana"/>
                <a:cs typeface="Verdana"/>
              </a:rPr>
              <a:t>o</a:t>
            </a:r>
            <a:r>
              <a:rPr sz="1200" spc="60" dirty="0">
                <a:latin typeface="Verdana"/>
                <a:cs typeface="Verdana"/>
              </a:rPr>
              <a:t>w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s</a:t>
            </a:r>
            <a:r>
              <a:rPr sz="1200" spc="-85" dirty="0">
                <a:latin typeface="Verdana"/>
                <a:cs typeface="Verdana"/>
              </a:rPr>
              <a:t>y</a:t>
            </a:r>
            <a:r>
              <a:rPr sz="1200" spc="-40" dirty="0">
                <a:latin typeface="Verdana"/>
                <a:cs typeface="Verdana"/>
              </a:rPr>
              <a:t>s</a:t>
            </a:r>
            <a:r>
              <a:rPr sz="1200" spc="-80" dirty="0">
                <a:latin typeface="Verdana"/>
                <a:cs typeface="Verdana"/>
              </a:rPr>
              <a:t>tem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65" dirty="0">
                <a:latin typeface="Verdana"/>
                <a:cs typeface="Verdana"/>
              </a:rPr>
              <a:t>ﬂ</a:t>
            </a:r>
            <a:r>
              <a:rPr sz="1200" spc="-75" dirty="0">
                <a:latin typeface="Verdana"/>
                <a:cs typeface="Verdana"/>
              </a:rPr>
              <a:t>e</a:t>
            </a:r>
            <a:r>
              <a:rPr sz="1200" spc="-50" dirty="0">
                <a:latin typeface="Verdana"/>
                <a:cs typeface="Verdana"/>
              </a:rPr>
              <a:t>xibili</a:t>
            </a:r>
            <a:r>
              <a:rPr sz="1200" spc="-45" dirty="0">
                <a:latin typeface="Verdana"/>
                <a:cs typeface="Verdana"/>
              </a:rPr>
              <a:t>t</a:t>
            </a:r>
            <a:r>
              <a:rPr sz="1200" spc="-75" dirty="0">
                <a:latin typeface="Verdana"/>
                <a:cs typeface="Verdana"/>
              </a:rPr>
              <a:t>y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i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h</a:t>
            </a:r>
            <a:r>
              <a:rPr sz="1200" spc="-60" dirty="0">
                <a:latin typeface="Verdana"/>
                <a:cs typeface="Verdana"/>
              </a:rPr>
              <a:t>o</a:t>
            </a:r>
            <a:r>
              <a:rPr sz="1200" spc="25" dirty="0">
                <a:latin typeface="Verdana"/>
                <a:cs typeface="Verdana"/>
              </a:rPr>
              <a:t>w</a:t>
            </a:r>
            <a:r>
              <a:rPr sz="1200" spc="-240" dirty="0">
                <a:latin typeface="Verdana"/>
                <a:cs typeface="Verdana"/>
              </a:rPr>
              <a:t>/</a:t>
            </a:r>
            <a:r>
              <a:rPr sz="1200" spc="-30" dirty="0">
                <a:latin typeface="Verdana"/>
                <a:cs typeface="Verdana"/>
              </a:rPr>
              <a:t>whe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65" dirty="0">
                <a:latin typeface="Verdana"/>
                <a:cs typeface="Verdana"/>
              </a:rPr>
              <a:t>su</a:t>
            </a:r>
            <a:r>
              <a:rPr sz="1200" spc="-20" dirty="0">
                <a:latin typeface="Verdana"/>
                <a:cs typeface="Verdana"/>
              </a:rPr>
              <a:t>r</a:t>
            </a:r>
            <a:r>
              <a:rPr sz="1200" spc="-85" dirty="0">
                <a:latin typeface="Verdana"/>
                <a:cs typeface="Verdana"/>
              </a:rPr>
              <a:t>v</a:t>
            </a:r>
            <a:r>
              <a:rPr sz="1200" spc="-75" dirty="0">
                <a:latin typeface="Verdana"/>
                <a:cs typeface="Verdana"/>
              </a:rPr>
              <a:t>e</a:t>
            </a:r>
            <a:r>
              <a:rPr sz="1200" spc="-90" dirty="0">
                <a:latin typeface="Verdana"/>
                <a:cs typeface="Verdana"/>
              </a:rPr>
              <a:t>y</a:t>
            </a:r>
            <a:r>
              <a:rPr sz="1200" spc="-25" dirty="0">
                <a:latin typeface="Verdana"/>
                <a:cs typeface="Verdana"/>
              </a:rPr>
              <a:t>s  </a:t>
            </a:r>
            <a:r>
              <a:rPr sz="1200" spc="-50" dirty="0">
                <a:latin typeface="Verdana"/>
                <a:cs typeface="Verdana"/>
              </a:rPr>
              <a:t>ar</a:t>
            </a:r>
            <a:r>
              <a:rPr sz="1200" spc="-65" dirty="0">
                <a:latin typeface="Verdana"/>
                <a:cs typeface="Verdana"/>
              </a:rPr>
              <a:t>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trigge</a:t>
            </a:r>
            <a:r>
              <a:rPr sz="1200" spc="-65" dirty="0">
                <a:latin typeface="Verdana"/>
                <a:cs typeface="Verdana"/>
              </a:rPr>
              <a:t>r</a:t>
            </a:r>
            <a:r>
              <a:rPr sz="1200" spc="-45" dirty="0">
                <a:latin typeface="Verdana"/>
                <a:cs typeface="Verdana"/>
              </a:rPr>
              <a:t>e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b</a:t>
            </a:r>
            <a:r>
              <a:rPr sz="1200" spc="-75" dirty="0">
                <a:latin typeface="Verdana"/>
                <a:cs typeface="Verdana"/>
              </a:rPr>
              <a:t>y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s</a:t>
            </a:r>
            <a:r>
              <a:rPr sz="1200" spc="-85" dirty="0">
                <a:latin typeface="Verdana"/>
                <a:cs typeface="Verdana"/>
              </a:rPr>
              <a:t>y</a:t>
            </a:r>
            <a:r>
              <a:rPr sz="1200" spc="-40" dirty="0">
                <a:latin typeface="Verdana"/>
                <a:cs typeface="Verdana"/>
              </a:rPr>
              <a:t>s</a:t>
            </a:r>
            <a:r>
              <a:rPr sz="1200" spc="-80" dirty="0">
                <a:latin typeface="Verdana"/>
                <a:cs typeface="Verdana"/>
              </a:rPr>
              <a:t>tem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684476" y="3751650"/>
            <a:ext cx="3122295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8580">
              <a:lnSpc>
                <a:spcPct val="100000"/>
              </a:lnSpc>
              <a:spcBef>
                <a:spcPts val="100"/>
              </a:spcBef>
            </a:pPr>
            <a:r>
              <a:rPr sz="1200" spc="-25" dirty="0">
                <a:solidFill>
                  <a:srgbClr val="C41300"/>
                </a:solidFill>
                <a:latin typeface="Verdana"/>
                <a:cs typeface="Verdana"/>
              </a:rPr>
              <a:t>No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C41300"/>
                </a:solidFill>
                <a:latin typeface="Verdana"/>
                <a:cs typeface="Verdana"/>
              </a:rPr>
              <a:t>di</a:t>
            </a:r>
            <a:r>
              <a:rPr sz="1200" spc="-65" dirty="0">
                <a:solidFill>
                  <a:srgbClr val="C41300"/>
                </a:solidFill>
                <a:latin typeface="Verdana"/>
                <a:cs typeface="Verdana"/>
              </a:rPr>
              <a:t>r</a:t>
            </a:r>
            <a:r>
              <a:rPr sz="1200" spc="-50" dirty="0">
                <a:solidFill>
                  <a:srgbClr val="C41300"/>
                </a:solidFill>
                <a:latin typeface="Verdana"/>
                <a:cs typeface="Verdana"/>
              </a:rPr>
              <a:t>ec</a:t>
            </a:r>
            <a:r>
              <a:rPr sz="1200" spc="-55" dirty="0">
                <a:solidFill>
                  <a:srgbClr val="C41300"/>
                </a:solidFill>
                <a:latin typeface="Verdana"/>
                <a:cs typeface="Verdana"/>
              </a:rPr>
              <a:t>t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60" dirty="0">
                <a:solidFill>
                  <a:srgbClr val="C41300"/>
                </a:solidFill>
                <a:latin typeface="Verdana"/>
                <a:cs typeface="Verdana"/>
              </a:rPr>
              <a:t>link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t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se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t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20" dirty="0">
                <a:latin typeface="Verdana"/>
                <a:cs typeface="Verdana"/>
              </a:rPr>
              <a:t>L</a:t>
            </a:r>
            <a:r>
              <a:rPr sz="1200" spc="-60" dirty="0">
                <a:latin typeface="Verdana"/>
                <a:cs typeface="Verdana"/>
              </a:rPr>
              <a:t>earne</a:t>
            </a:r>
            <a:r>
              <a:rPr sz="1200" spc="-55" dirty="0">
                <a:latin typeface="Verdana"/>
                <a:cs typeface="Verdana"/>
              </a:rPr>
              <a:t>r</a:t>
            </a:r>
            <a:r>
              <a:rPr sz="1200" spc="-30" dirty="0">
                <a:latin typeface="Verdana"/>
                <a:cs typeface="Verdana"/>
              </a:rPr>
              <a:t>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lead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to  </a:t>
            </a:r>
            <a:r>
              <a:rPr sz="1200" spc="-55" dirty="0">
                <a:latin typeface="Verdana"/>
                <a:cs typeface="Verdana"/>
              </a:rPr>
              <a:t>highe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60" dirty="0">
                <a:latin typeface="Verdana"/>
                <a:cs typeface="Verdana"/>
              </a:rPr>
              <a:t>complexity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fo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completio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a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lower </a:t>
            </a:r>
            <a:r>
              <a:rPr sz="1200" spc="-409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responses</a:t>
            </a:r>
            <a:endParaRPr sz="12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</a:pPr>
            <a:r>
              <a:rPr sz="1200" spc="-60" dirty="0">
                <a:solidFill>
                  <a:srgbClr val="C41300"/>
                </a:solidFill>
                <a:latin typeface="Verdana"/>
                <a:cs typeface="Verdana"/>
              </a:rPr>
              <a:t>Inabili</a:t>
            </a:r>
            <a:r>
              <a:rPr sz="1200" spc="-50" dirty="0">
                <a:solidFill>
                  <a:srgbClr val="C41300"/>
                </a:solidFill>
                <a:latin typeface="Verdana"/>
                <a:cs typeface="Verdana"/>
              </a:rPr>
              <a:t>t</a:t>
            </a:r>
            <a:r>
              <a:rPr sz="1200" spc="-75" dirty="0">
                <a:solidFill>
                  <a:srgbClr val="C41300"/>
                </a:solidFill>
                <a:latin typeface="Verdana"/>
                <a:cs typeface="Verdana"/>
              </a:rPr>
              <a:t>y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C41300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C41300"/>
                </a:solidFill>
                <a:latin typeface="Verdana"/>
                <a:cs typeface="Verdana"/>
              </a:rPr>
              <a:t>send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45" dirty="0">
                <a:solidFill>
                  <a:srgbClr val="C41300"/>
                </a:solidFill>
                <a:latin typeface="Verdana"/>
                <a:cs typeface="Verdana"/>
              </a:rPr>
              <a:t>cu</a:t>
            </a:r>
            <a:r>
              <a:rPr sz="1200" spc="-50" dirty="0">
                <a:solidFill>
                  <a:srgbClr val="C41300"/>
                </a:solidFill>
                <a:latin typeface="Verdana"/>
                <a:cs typeface="Verdana"/>
              </a:rPr>
              <a:t>s</a:t>
            </a:r>
            <a:r>
              <a:rPr sz="1200" spc="-55" dirty="0">
                <a:solidFill>
                  <a:srgbClr val="C41300"/>
                </a:solidFill>
                <a:latin typeface="Verdana"/>
                <a:cs typeface="Verdana"/>
              </a:rPr>
              <a:t>tomi</a:t>
            </a:r>
            <a:r>
              <a:rPr sz="1200" spc="-65" dirty="0">
                <a:solidFill>
                  <a:srgbClr val="C41300"/>
                </a:solidFill>
                <a:latin typeface="Verdana"/>
                <a:cs typeface="Verdana"/>
              </a:rPr>
              <a:t>z</a:t>
            </a:r>
            <a:r>
              <a:rPr sz="1200" spc="-45" dirty="0">
                <a:solidFill>
                  <a:srgbClr val="C41300"/>
                </a:solidFill>
                <a:latin typeface="Verdana"/>
                <a:cs typeface="Verdana"/>
              </a:rPr>
              <a:t>ed</a:t>
            </a:r>
            <a:r>
              <a:rPr sz="1200" spc="-110" dirty="0">
                <a:solidFill>
                  <a:srgbClr val="C41300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C41300"/>
                </a:solidFill>
                <a:latin typeface="Verdana"/>
                <a:cs typeface="Verdana"/>
              </a:rPr>
              <a:t>r</a:t>
            </a:r>
            <a:r>
              <a:rPr sz="1200" spc="-70" dirty="0">
                <a:solidFill>
                  <a:srgbClr val="C41300"/>
                </a:solidFill>
                <a:latin typeface="Verdana"/>
                <a:cs typeface="Verdana"/>
              </a:rPr>
              <a:t>eminde</a:t>
            </a:r>
            <a:r>
              <a:rPr sz="1200" spc="-55" dirty="0">
                <a:solidFill>
                  <a:srgbClr val="C41300"/>
                </a:solidFill>
                <a:latin typeface="Verdana"/>
                <a:cs typeface="Verdana"/>
              </a:rPr>
              <a:t>r</a:t>
            </a:r>
            <a:r>
              <a:rPr sz="1200" spc="-25" dirty="0">
                <a:solidFill>
                  <a:srgbClr val="C41300"/>
                </a:solidFill>
                <a:latin typeface="Verdana"/>
                <a:cs typeface="Verdana"/>
              </a:rPr>
              <a:t>s  </a:t>
            </a:r>
            <a:r>
              <a:rPr sz="1200" spc="-70" dirty="0">
                <a:latin typeface="Verdana"/>
                <a:cs typeface="Verdana"/>
              </a:rPr>
              <a:t>th</a:t>
            </a:r>
            <a:r>
              <a:rPr sz="1200" spc="-75" dirty="0">
                <a:latin typeface="Verdana"/>
                <a:cs typeface="Verdana"/>
              </a:rPr>
              <a:t>r</a:t>
            </a:r>
            <a:r>
              <a:rPr sz="1200" spc="-50" dirty="0">
                <a:latin typeface="Verdana"/>
                <a:cs typeface="Verdana"/>
              </a:rPr>
              <a:t>ough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Saba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lead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to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manual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50" dirty="0">
                <a:latin typeface="Verdana"/>
                <a:cs typeface="Verdana"/>
              </a:rPr>
              <a:t>w</a:t>
            </a:r>
            <a:r>
              <a:rPr sz="1200" spc="-70" dirty="0">
                <a:latin typeface="Verdana"/>
                <a:cs typeface="Verdana"/>
              </a:rPr>
              <a:t>or</a:t>
            </a:r>
            <a:r>
              <a:rPr sz="1200" spc="-95" dirty="0">
                <a:latin typeface="Verdana"/>
                <a:cs typeface="Verdana"/>
              </a:rPr>
              <a:t>k</a:t>
            </a:r>
            <a:r>
              <a:rPr sz="1200" spc="-50" dirty="0">
                <a:latin typeface="Verdana"/>
                <a:cs typeface="Verdana"/>
              </a:rPr>
              <a:t>ar</a:t>
            </a:r>
            <a:r>
              <a:rPr sz="1200" spc="-40" dirty="0">
                <a:latin typeface="Verdana"/>
                <a:cs typeface="Verdana"/>
              </a:rPr>
              <a:t>ounds  </a:t>
            </a:r>
            <a:r>
              <a:rPr sz="1200" spc="-45" dirty="0">
                <a:latin typeface="Verdana"/>
                <a:cs typeface="Verdana"/>
              </a:rPr>
              <a:t>using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</a:t>
            </a:r>
            <a:r>
              <a:rPr sz="1200" spc="-65" dirty="0">
                <a:latin typeface="Verdana"/>
                <a:cs typeface="Verdana"/>
              </a:rPr>
              <a:t>the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tool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84476" y="5031809"/>
            <a:ext cx="2913380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62585">
              <a:lnSpc>
                <a:spcPct val="100000"/>
              </a:lnSpc>
              <a:spcBef>
                <a:spcPts val="100"/>
              </a:spcBef>
            </a:pPr>
            <a:r>
              <a:rPr sz="1200" spc="-35" dirty="0">
                <a:solidFill>
                  <a:srgbClr val="E71B57"/>
                </a:solidFill>
                <a:latin typeface="Verdana"/>
                <a:cs typeface="Verdana"/>
              </a:rPr>
              <a:t>Di</a:t>
            </a: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f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ﬁcult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t</a:t>
            </a:r>
            <a:r>
              <a:rPr sz="1200" spc="-8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ack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missing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esponses  </a:t>
            </a:r>
            <a:r>
              <a:rPr sz="1200" spc="-125" dirty="0">
                <a:latin typeface="Verdana"/>
                <a:cs typeface="Verdana"/>
              </a:rPr>
              <a:t>(</a:t>
            </a:r>
            <a:r>
              <a:rPr sz="1200" spc="-135" dirty="0">
                <a:latin typeface="Verdana"/>
                <a:cs typeface="Verdana"/>
              </a:rPr>
              <a:t>r</a:t>
            </a:r>
            <a:r>
              <a:rPr sz="1200" spc="-45" dirty="0">
                <a:latin typeface="Verdana"/>
                <a:cs typeface="Verdana"/>
              </a:rPr>
              <a:t>espons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95" dirty="0">
                <a:latin typeface="Verdana"/>
                <a:cs typeface="Verdana"/>
              </a:rPr>
              <a:t>r</a:t>
            </a:r>
            <a:r>
              <a:rPr sz="1200" spc="-40" dirty="0">
                <a:latin typeface="Verdana"/>
                <a:cs typeface="Verdana"/>
              </a:rPr>
              <a:t>ate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70" dirty="0">
                <a:latin typeface="Verdana"/>
                <a:cs typeface="Verdana"/>
              </a:rPr>
              <a:t>&amp;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li</a:t>
            </a:r>
            <a:r>
              <a:rPr sz="1200" spc="-70" dirty="0">
                <a:latin typeface="Verdana"/>
                <a:cs typeface="Verdana"/>
              </a:rPr>
              <a:t>s</a:t>
            </a:r>
            <a:r>
              <a:rPr sz="1200" spc="-55" dirty="0">
                <a:latin typeface="Verdana"/>
                <a:cs typeface="Verdana"/>
              </a:rPr>
              <a:t>t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</a:t>
            </a:r>
            <a:r>
              <a:rPr sz="1200" spc="-20" dirty="0">
                <a:latin typeface="Verdana"/>
                <a:cs typeface="Verdana"/>
              </a:rPr>
              <a:t>f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ut</a:t>
            </a:r>
            <a:r>
              <a:rPr sz="1200" spc="-60" dirty="0">
                <a:latin typeface="Verdana"/>
                <a:cs typeface="Verdana"/>
              </a:rPr>
              <a:t>s</a:t>
            </a:r>
            <a:r>
              <a:rPr sz="1200" spc="-35" dirty="0">
                <a:latin typeface="Verdana"/>
                <a:cs typeface="Verdana"/>
              </a:rPr>
              <a:t>tanding  </a:t>
            </a:r>
            <a:r>
              <a:rPr sz="1200" spc="-65" dirty="0">
                <a:latin typeface="Verdana"/>
                <a:cs typeface="Verdana"/>
              </a:rPr>
              <a:t>reviews)</a:t>
            </a:r>
            <a:endParaRPr sz="12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</a:pP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High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70" dirty="0">
                <a:solidFill>
                  <a:srgbClr val="E71B57"/>
                </a:solidFill>
                <a:latin typeface="Verdana"/>
                <a:cs typeface="Verdana"/>
              </a:rPr>
              <a:t>number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f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que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s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ion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a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lack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</a:t>
            </a:r>
            <a:r>
              <a:rPr sz="1200" spc="-20" dirty="0">
                <a:latin typeface="Verdana"/>
                <a:cs typeface="Verdana"/>
              </a:rPr>
              <a:t>f  </a:t>
            </a:r>
            <a:r>
              <a:rPr sz="1200" spc="-95" dirty="0">
                <a:latin typeface="Verdana"/>
                <a:cs typeface="Verdana"/>
              </a:rPr>
              <a:t>m</a:t>
            </a:r>
            <a:r>
              <a:rPr sz="1200" spc="-65" dirty="0">
                <a:latin typeface="Verdana"/>
                <a:cs typeface="Verdana"/>
              </a:rPr>
              <a:t>o</a:t>
            </a:r>
            <a:r>
              <a:rPr sz="1200" spc="-45" dirty="0">
                <a:latin typeface="Verdana"/>
                <a:cs typeface="Verdana"/>
              </a:rPr>
              <a:t>ti</a:t>
            </a:r>
            <a:r>
              <a:rPr sz="1200" spc="-90" dirty="0">
                <a:latin typeface="Verdana"/>
                <a:cs typeface="Verdana"/>
              </a:rPr>
              <a:t>v</a:t>
            </a:r>
            <a:r>
              <a:rPr sz="1200" spc="-40" dirty="0">
                <a:latin typeface="Verdana"/>
                <a:cs typeface="Verdana"/>
              </a:rPr>
              <a:t>atio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solidFill>
                  <a:srgbClr val="E71B57"/>
                </a:solidFill>
                <a:latin typeface="Verdana"/>
                <a:cs typeface="Verdana"/>
              </a:rPr>
              <a:t>lead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30" dirty="0">
                <a:solidFill>
                  <a:srgbClr val="E71B57"/>
                </a:solidFill>
                <a:latin typeface="Verdana"/>
                <a:cs typeface="Verdana"/>
              </a:rPr>
              <a:t>l</a:t>
            </a:r>
            <a:r>
              <a:rPr sz="1200" spc="-7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50" dirty="0">
                <a:solidFill>
                  <a:srgbClr val="E71B57"/>
                </a:solidFill>
                <a:latin typeface="Verdana"/>
                <a:cs typeface="Verdana"/>
              </a:rPr>
              <a:t>w</a:t>
            </a:r>
            <a:r>
              <a:rPr sz="1200" spc="-70" dirty="0">
                <a:solidFill>
                  <a:srgbClr val="E71B57"/>
                </a:solidFill>
                <a:latin typeface="Verdana"/>
                <a:cs typeface="Verdana"/>
              </a:rPr>
              <a:t>er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espons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ate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s</a:t>
            </a:r>
            <a:r>
              <a:rPr sz="1200" spc="-160" dirty="0">
                <a:latin typeface="Verdana"/>
                <a:cs typeface="Verdana"/>
              </a:rPr>
              <a:t>.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27949" y="2837250"/>
            <a:ext cx="289814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spc="-40" dirty="0">
                <a:latin typeface="Verdana"/>
                <a:cs typeface="Verdana"/>
              </a:rPr>
              <a:t>Be</a:t>
            </a:r>
            <a:r>
              <a:rPr sz="1200" spc="-55" dirty="0">
                <a:latin typeface="Verdana"/>
                <a:cs typeface="Verdana"/>
              </a:rPr>
              <a:t>t</a:t>
            </a:r>
            <a:r>
              <a:rPr sz="1200" spc="-65" dirty="0">
                <a:latin typeface="Verdana"/>
                <a:cs typeface="Verdana"/>
              </a:rPr>
              <a:t>ter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65" dirty="0">
                <a:latin typeface="Verdana"/>
                <a:cs typeface="Verdana"/>
              </a:rPr>
              <a:t>unde</a:t>
            </a:r>
            <a:r>
              <a:rPr sz="1200" spc="-55" dirty="0">
                <a:latin typeface="Verdana"/>
                <a:cs typeface="Verdana"/>
              </a:rPr>
              <a:t>r</a:t>
            </a:r>
            <a:r>
              <a:rPr sz="1200" spc="-40" dirty="0">
                <a:latin typeface="Verdana"/>
                <a:cs typeface="Verdana"/>
              </a:rPr>
              <a:t>standing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</a:t>
            </a:r>
            <a:r>
              <a:rPr sz="1200" spc="-20" dirty="0">
                <a:latin typeface="Verdana"/>
                <a:cs typeface="Verdana"/>
              </a:rPr>
              <a:t>f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114" dirty="0">
                <a:latin typeface="Verdana"/>
                <a:cs typeface="Verdana"/>
              </a:rPr>
              <a:t>T</a:t>
            </a:r>
            <a:r>
              <a:rPr sz="1200" spc="-35" dirty="0">
                <a:latin typeface="Verdana"/>
                <a:cs typeface="Verdana"/>
              </a:rPr>
              <a:t>ableau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lead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to  </a:t>
            </a:r>
            <a:r>
              <a:rPr sz="1200" spc="-55" dirty="0">
                <a:latin typeface="Verdana"/>
                <a:cs typeface="Verdana"/>
              </a:rPr>
              <a:t>inc</a:t>
            </a:r>
            <a:r>
              <a:rPr sz="1200" spc="-65" dirty="0">
                <a:latin typeface="Verdana"/>
                <a:cs typeface="Verdana"/>
              </a:rPr>
              <a:t>r</a:t>
            </a:r>
            <a:r>
              <a:rPr sz="1200" spc="-40" dirty="0">
                <a:latin typeface="Verdana"/>
                <a:cs typeface="Verdana"/>
              </a:rPr>
              <a:t>ease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satisf</a:t>
            </a:r>
            <a:r>
              <a:rPr sz="1200" spc="-20" dirty="0">
                <a:latin typeface="Verdana"/>
                <a:cs typeface="Verdana"/>
              </a:rPr>
              <a:t>ac</a:t>
            </a:r>
            <a:r>
              <a:rPr sz="1200" spc="-50" dirty="0">
                <a:latin typeface="Verdana"/>
                <a:cs typeface="Verdana"/>
              </a:rPr>
              <a:t>tio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175" dirty="0">
                <a:latin typeface="Verdana"/>
                <a:cs typeface="Verdana"/>
              </a:rPr>
              <a:t>(</a:t>
            </a:r>
            <a:r>
              <a:rPr sz="1200" spc="-30" dirty="0">
                <a:latin typeface="Verdana"/>
                <a:cs typeface="Verdana"/>
              </a:rPr>
              <a:t>ca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manipulate  </a:t>
            </a:r>
            <a:r>
              <a:rPr sz="1200" spc="-60" dirty="0">
                <a:latin typeface="Verdana"/>
                <a:cs typeface="Verdana"/>
              </a:rPr>
              <a:t>data</a:t>
            </a:r>
            <a:r>
              <a:rPr sz="1200" spc="-125" dirty="0">
                <a:latin typeface="Verdana"/>
                <a:cs typeface="Verdana"/>
              </a:rPr>
              <a:t>/</a:t>
            </a:r>
            <a:r>
              <a:rPr sz="1200" spc="-45" dirty="0">
                <a:latin typeface="Verdana"/>
                <a:cs typeface="Verdana"/>
              </a:rPr>
              <a:t>s</a:t>
            </a:r>
            <a:r>
              <a:rPr sz="1200" spc="-55" dirty="0">
                <a:latin typeface="Verdana"/>
                <a:cs typeface="Verdana"/>
              </a:rPr>
              <a:t>et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up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dashboa</a:t>
            </a:r>
            <a:r>
              <a:rPr sz="1200" spc="-40" dirty="0">
                <a:latin typeface="Verdana"/>
                <a:cs typeface="Verdana"/>
              </a:rPr>
              <a:t>r</a:t>
            </a:r>
            <a:r>
              <a:rPr sz="1200" spc="-75" dirty="0">
                <a:latin typeface="Verdana"/>
                <a:cs typeface="Verdana"/>
              </a:rPr>
              <a:t>ds)</a:t>
            </a:r>
            <a:endParaRPr sz="1200">
              <a:latin typeface="Verdana"/>
              <a:cs typeface="Verdana"/>
            </a:endParaRPr>
          </a:p>
          <a:p>
            <a:pPr marL="12700" marR="151765" algn="just">
              <a:lnSpc>
                <a:spcPct val="100000"/>
              </a:lnSpc>
            </a:pP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L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60" dirty="0">
                <a:solidFill>
                  <a:srgbClr val="E71B57"/>
                </a:solidFill>
                <a:latin typeface="Verdana"/>
                <a:cs typeface="Verdana"/>
              </a:rPr>
              <a:t>w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E71B57"/>
                </a:solidFill>
                <a:latin typeface="Verdana"/>
                <a:cs typeface="Verdana"/>
              </a:rPr>
              <a:t>unde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standing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f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h</a:t>
            </a: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60" dirty="0">
                <a:solidFill>
                  <a:srgbClr val="E71B57"/>
                </a:solidFill>
                <a:latin typeface="Verdana"/>
                <a:cs typeface="Verdana"/>
              </a:rPr>
              <a:t>w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to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use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data  </a:t>
            </a:r>
            <a:r>
              <a:rPr sz="1200" spc="-50" dirty="0">
                <a:latin typeface="Verdana"/>
                <a:cs typeface="Verdana"/>
              </a:rPr>
              <a:t>b</a:t>
            </a:r>
            <a:r>
              <a:rPr sz="1200" spc="-55" dirty="0">
                <a:latin typeface="Verdana"/>
                <a:cs typeface="Verdana"/>
              </a:rPr>
              <a:t>e</a:t>
            </a:r>
            <a:r>
              <a:rPr sz="1200" spc="-85" dirty="0">
                <a:latin typeface="Verdana"/>
                <a:cs typeface="Verdana"/>
              </a:rPr>
              <a:t>y</a:t>
            </a:r>
            <a:r>
              <a:rPr sz="1200" spc="-45" dirty="0">
                <a:latin typeface="Verdana"/>
                <a:cs typeface="Verdana"/>
              </a:rPr>
              <a:t>o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open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95" dirty="0">
                <a:latin typeface="Verdana"/>
                <a:cs typeface="Verdana"/>
              </a:rPr>
              <a:t>r</a:t>
            </a:r>
            <a:r>
              <a:rPr sz="1200" spc="-45" dirty="0">
                <a:latin typeface="Verdana"/>
                <a:cs typeface="Verdana"/>
              </a:rPr>
              <a:t>esponse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an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30" dirty="0">
                <a:latin typeface="Verdana"/>
                <a:cs typeface="Verdana"/>
              </a:rPr>
              <a:t>f</a:t>
            </a:r>
            <a:r>
              <a:rPr sz="1200" spc="-40" dirty="0">
                <a:latin typeface="Verdana"/>
                <a:cs typeface="Verdana"/>
              </a:rPr>
              <a:t>acilitator  </a:t>
            </a:r>
            <a:r>
              <a:rPr sz="1200" spc="-45" dirty="0">
                <a:latin typeface="Verdana"/>
                <a:cs typeface="Verdana"/>
              </a:rPr>
              <a:t>feedback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27949" y="4117409"/>
            <a:ext cx="310070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83210">
              <a:lnSpc>
                <a:spcPct val="100000"/>
              </a:lnSpc>
              <a:spcBef>
                <a:spcPts val="100"/>
              </a:spcBef>
            </a:pPr>
            <a:r>
              <a:rPr sz="1200" spc="-45" dirty="0">
                <a:latin typeface="Verdana"/>
                <a:cs typeface="Verdana"/>
              </a:rPr>
              <a:t>Results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typically</a:t>
            </a:r>
            <a:r>
              <a:rPr sz="1200" spc="-105" dirty="0">
                <a:latin typeface="Verdana"/>
                <a:cs typeface="Verdana"/>
              </a:rPr>
              <a:t> </a:t>
            </a:r>
            <a:r>
              <a:rPr sz="1200" spc="-50" dirty="0">
                <a:latin typeface="Verdana"/>
                <a:cs typeface="Verdana"/>
              </a:rPr>
              <a:t>shared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25" dirty="0">
                <a:latin typeface="Verdana"/>
                <a:cs typeface="Verdana"/>
              </a:rPr>
              <a:t>with</a:t>
            </a:r>
            <a:r>
              <a:rPr sz="1200" spc="-105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facilitators </a:t>
            </a:r>
            <a:r>
              <a:rPr sz="1200" spc="-405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using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sc</a:t>
            </a: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r</a:t>
            </a:r>
            <a:r>
              <a:rPr sz="1200" spc="-55" dirty="0">
                <a:solidFill>
                  <a:srgbClr val="E71B57"/>
                </a:solidFill>
                <a:latin typeface="Verdana"/>
                <a:cs typeface="Verdana"/>
              </a:rPr>
              <a:t>eensh</a:t>
            </a:r>
            <a:r>
              <a:rPr sz="1200" spc="-6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45" dirty="0">
                <a:solidFill>
                  <a:srgbClr val="E71B57"/>
                </a:solidFill>
                <a:latin typeface="Verdana"/>
                <a:cs typeface="Verdana"/>
              </a:rPr>
              <a:t>ts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o</a:t>
            </a:r>
            <a:r>
              <a:rPr sz="1200" spc="-20" dirty="0">
                <a:solidFill>
                  <a:srgbClr val="E71B57"/>
                </a:solidFill>
                <a:latin typeface="Verdana"/>
                <a:cs typeface="Verdana"/>
              </a:rPr>
              <a:t>f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114" dirty="0">
                <a:solidFill>
                  <a:srgbClr val="E71B57"/>
                </a:solidFill>
                <a:latin typeface="Verdana"/>
                <a:cs typeface="Verdana"/>
              </a:rPr>
              <a:t>T</a:t>
            </a:r>
            <a:r>
              <a:rPr sz="1200" spc="-35" dirty="0">
                <a:solidFill>
                  <a:srgbClr val="E71B57"/>
                </a:solidFill>
                <a:latin typeface="Verdana"/>
                <a:cs typeface="Verdana"/>
              </a:rPr>
              <a:t>ableau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40" dirty="0">
                <a:solidFill>
                  <a:srgbClr val="E71B57"/>
                </a:solidFill>
                <a:latin typeface="Verdana"/>
                <a:cs typeface="Verdana"/>
              </a:rPr>
              <a:t>via</a:t>
            </a:r>
            <a:r>
              <a:rPr sz="1200" spc="-110" dirty="0">
                <a:solidFill>
                  <a:srgbClr val="E71B57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E71B57"/>
                </a:solidFill>
                <a:latin typeface="Verdana"/>
                <a:cs typeface="Verdana"/>
              </a:rPr>
              <a:t>email  manually</a:t>
            </a:r>
            <a:endParaRPr sz="12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</a:pPr>
            <a:r>
              <a:rPr sz="1200" spc="-75" dirty="0">
                <a:latin typeface="Verdana"/>
                <a:cs typeface="Verdana"/>
              </a:rPr>
              <a:t>Some </a:t>
            </a:r>
            <a:r>
              <a:rPr sz="1200" spc="-55" dirty="0">
                <a:latin typeface="Verdana"/>
                <a:cs typeface="Verdana"/>
              </a:rPr>
              <a:t>are </a:t>
            </a:r>
            <a:r>
              <a:rPr sz="1200" spc="-50" dirty="0">
                <a:latin typeface="Verdana"/>
                <a:cs typeface="Verdana"/>
              </a:rPr>
              <a:t>reporting to </a:t>
            </a:r>
            <a:r>
              <a:rPr sz="1200" spc="-65" dirty="0">
                <a:latin typeface="Verdana"/>
                <a:cs typeface="Verdana"/>
              </a:rPr>
              <a:t>content/ops </a:t>
            </a:r>
            <a:r>
              <a:rPr sz="1200" spc="-55" dirty="0">
                <a:latin typeface="Verdana"/>
                <a:cs typeface="Verdana"/>
              </a:rPr>
              <a:t>teams </a:t>
            </a:r>
            <a:r>
              <a:rPr sz="1200" spc="-50" dirty="0">
                <a:latin typeface="Verdana"/>
                <a:cs typeface="Verdana"/>
              </a:rPr>
              <a:t> </a:t>
            </a:r>
            <a:r>
              <a:rPr sz="1200" spc="-85" dirty="0">
                <a:latin typeface="Verdana"/>
                <a:cs typeface="Verdana"/>
              </a:rPr>
              <a:t>and/or</a:t>
            </a:r>
            <a:r>
              <a:rPr sz="1200" spc="-105" dirty="0">
                <a:latin typeface="Verdana"/>
                <a:cs typeface="Verdana"/>
              </a:rPr>
              <a:t> </a:t>
            </a:r>
            <a:r>
              <a:rPr sz="1200" spc="-85" dirty="0">
                <a:latin typeface="Verdana"/>
                <a:cs typeface="Verdana"/>
              </a:rPr>
              <a:t>key</a:t>
            </a:r>
            <a:r>
              <a:rPr sz="1200" spc="-105" dirty="0">
                <a:latin typeface="Verdana"/>
                <a:cs typeface="Verdana"/>
              </a:rPr>
              <a:t> </a:t>
            </a:r>
            <a:r>
              <a:rPr sz="1200" spc="-35" dirty="0">
                <a:latin typeface="Verdana"/>
                <a:cs typeface="Verdana"/>
              </a:rPr>
              <a:t>BCG</a:t>
            </a:r>
            <a:r>
              <a:rPr sz="1200" spc="-10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stakeholders</a:t>
            </a:r>
            <a:r>
              <a:rPr sz="1200" spc="-105" dirty="0">
                <a:latin typeface="Verdana"/>
                <a:cs typeface="Verdana"/>
              </a:rPr>
              <a:t> </a:t>
            </a:r>
            <a:r>
              <a:rPr sz="1200" spc="-40" dirty="0">
                <a:latin typeface="Verdana"/>
                <a:cs typeface="Verdana"/>
              </a:rPr>
              <a:t>via</a:t>
            </a:r>
            <a:r>
              <a:rPr sz="1200" spc="-100" dirty="0">
                <a:latin typeface="Verdana"/>
                <a:cs typeface="Verdana"/>
              </a:rPr>
              <a:t> </a:t>
            </a:r>
            <a:r>
              <a:rPr sz="1200" spc="-45" dirty="0">
                <a:latin typeface="Verdana"/>
                <a:cs typeface="Verdana"/>
              </a:rPr>
              <a:t>slide</a:t>
            </a:r>
            <a:r>
              <a:rPr sz="1200" spc="-110" dirty="0">
                <a:latin typeface="Verdana"/>
                <a:cs typeface="Verdana"/>
              </a:rPr>
              <a:t> </a:t>
            </a:r>
            <a:r>
              <a:rPr sz="1200" spc="-55" dirty="0">
                <a:latin typeface="Verdana"/>
                <a:cs typeface="Verdana"/>
              </a:rPr>
              <a:t>deck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30000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BC5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931802" y="2112138"/>
            <a:ext cx="57404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1440" marR="5080" indent="-7937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1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575757"/>
                </a:solidFill>
                <a:latin typeface="Verdana"/>
                <a:cs typeface="Verdana"/>
              </a:rPr>
              <a:t>Initial  </a:t>
            </a:r>
            <a:r>
              <a:rPr sz="1200" spc="-50" dirty="0">
                <a:solidFill>
                  <a:srgbClr val="575757"/>
                </a:solidFill>
                <a:latin typeface="Verdana"/>
                <a:cs typeface="Verdana"/>
              </a:rPr>
              <a:t>setup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875807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71B5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073332" y="2112138"/>
            <a:ext cx="8356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1590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FFFFFF"/>
                </a:solidFill>
                <a:latin typeface="Verdana"/>
                <a:cs typeface="Verdana"/>
              </a:rPr>
              <a:t>2.</a:t>
            </a:r>
            <a:r>
              <a:rPr sz="1200" spc="-1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Verdana"/>
                <a:cs typeface="Verdana"/>
              </a:rPr>
              <a:t>C</a:t>
            </a:r>
            <a:r>
              <a:rPr sz="12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200" spc="-45" dirty="0">
                <a:solidFill>
                  <a:srgbClr val="FFFFFF"/>
                </a:solidFill>
                <a:latin typeface="Verdana"/>
                <a:cs typeface="Verdana"/>
              </a:rPr>
              <a:t>eate</a:t>
            </a:r>
            <a:r>
              <a:rPr sz="1200" spc="-1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Verdana"/>
                <a:cs typeface="Verdana"/>
              </a:rPr>
              <a:t>a  </a:t>
            </a:r>
            <a:r>
              <a:rPr sz="1200" spc="-65" dirty="0">
                <a:solidFill>
                  <a:srgbClr val="FFFFFF"/>
                </a:solidFill>
                <a:latin typeface="Verdana"/>
                <a:cs typeface="Verdana"/>
              </a:rPr>
              <a:t>n</a:t>
            </a:r>
            <a:r>
              <a:rPr sz="1200" spc="-70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200" spc="6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200" spc="-1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FFFFFF"/>
                </a:solidFill>
                <a:latin typeface="Verdana"/>
                <a:cs typeface="Verdana"/>
              </a:rPr>
              <a:t>su</a:t>
            </a:r>
            <a:r>
              <a:rPr sz="1200" spc="-2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200" spc="-8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200" spc="-75" dirty="0">
                <a:solidFill>
                  <a:srgbClr val="FFFFFF"/>
                </a:solidFill>
                <a:latin typeface="Verdana"/>
                <a:cs typeface="Verdana"/>
              </a:rPr>
              <a:t>ey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121616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BC5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3379719" y="2020698"/>
            <a:ext cx="71437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3820" marR="5080" indent="-7175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3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30" dirty="0">
                <a:solidFill>
                  <a:srgbClr val="575757"/>
                </a:solidFill>
                <a:latin typeface="Verdana"/>
                <a:cs typeface="Verdana"/>
              </a:rPr>
              <a:t>Update  </a:t>
            </a:r>
            <a:r>
              <a:rPr sz="1200" spc="-55" dirty="0">
                <a:solidFill>
                  <a:srgbClr val="575757"/>
                </a:solidFill>
                <a:latin typeface="Verdana"/>
                <a:cs typeface="Verdana"/>
              </a:rPr>
              <a:t>existing </a:t>
            </a:r>
            <a:r>
              <a:rPr sz="1200" spc="-5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65" dirty="0">
                <a:solidFill>
                  <a:srgbClr val="575757"/>
                </a:solidFill>
                <a:latin typeface="Verdana"/>
                <a:cs typeface="Verdana"/>
              </a:rPr>
              <a:t>survey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4367424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BC5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4639626" y="2112138"/>
            <a:ext cx="6858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9220" marR="5080" indent="-9715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4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114" dirty="0">
                <a:solidFill>
                  <a:srgbClr val="575757"/>
                </a:solidFill>
                <a:latin typeface="Verdana"/>
                <a:cs typeface="Verdana"/>
              </a:rPr>
              <a:t>T</a:t>
            </a:r>
            <a:r>
              <a:rPr sz="1200" spc="-50" dirty="0">
                <a:solidFill>
                  <a:srgbClr val="575757"/>
                </a:solidFill>
                <a:latin typeface="Verdana"/>
                <a:cs typeface="Verdana"/>
              </a:rPr>
              <a:t>rigger  </a:t>
            </a:r>
            <a:r>
              <a:rPr sz="1200" spc="-65" dirty="0">
                <a:solidFill>
                  <a:srgbClr val="575757"/>
                </a:solidFill>
                <a:latin typeface="Verdana"/>
                <a:cs typeface="Verdana"/>
              </a:rPr>
              <a:t>survey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613232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9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9" y="0"/>
                </a:lnTo>
                <a:lnTo>
                  <a:pt x="1229999" y="437399"/>
                </a:lnTo>
                <a:lnTo>
                  <a:pt x="1124989" y="874799"/>
                </a:lnTo>
                <a:close/>
              </a:path>
            </a:pathLst>
          </a:custGeom>
          <a:solidFill>
            <a:srgbClr val="C41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865393" y="2112138"/>
            <a:ext cx="7258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87630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FFFFFF"/>
                </a:solidFill>
                <a:latin typeface="Verdana"/>
                <a:cs typeface="Verdana"/>
              </a:rPr>
              <a:t>5.</a:t>
            </a:r>
            <a:r>
              <a:rPr sz="1200" spc="-1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Verdana"/>
                <a:cs typeface="Verdana"/>
              </a:rPr>
              <a:t>Send  </a:t>
            </a:r>
            <a:r>
              <a:rPr sz="1200" spc="-9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200" spc="-70" dirty="0">
                <a:solidFill>
                  <a:srgbClr val="FFFFFF"/>
                </a:solidFill>
                <a:latin typeface="Verdana"/>
                <a:cs typeface="Verdana"/>
              </a:rPr>
              <a:t>eminde</a:t>
            </a:r>
            <a:r>
              <a:rPr sz="1200" spc="-6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200" spc="-3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859042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BC5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6981586" y="2112138"/>
            <a:ext cx="985519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0096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6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575757"/>
                </a:solidFill>
                <a:latin typeface="Verdana"/>
                <a:cs typeface="Verdana"/>
              </a:rPr>
              <a:t>Incr</a:t>
            </a:r>
            <a:r>
              <a:rPr sz="1200" spc="-35" dirty="0">
                <a:solidFill>
                  <a:srgbClr val="575757"/>
                </a:solidFill>
                <a:latin typeface="Verdana"/>
                <a:cs typeface="Verdana"/>
              </a:rPr>
              <a:t>ease  </a:t>
            </a:r>
            <a:r>
              <a:rPr sz="1200" spc="-95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200" spc="-45" dirty="0">
                <a:solidFill>
                  <a:srgbClr val="575757"/>
                </a:solidFill>
                <a:latin typeface="Verdana"/>
                <a:cs typeface="Verdana"/>
              </a:rPr>
              <a:t>esponse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95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200" spc="-40" dirty="0">
                <a:solidFill>
                  <a:srgbClr val="575757"/>
                </a:solidFill>
                <a:latin typeface="Verdana"/>
                <a:cs typeface="Verdana"/>
              </a:rPr>
              <a:t>ate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8104850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C8C8C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8430848" y="2112138"/>
            <a:ext cx="57848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5880" marR="5080" indent="-4381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7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40" dirty="0">
                <a:solidFill>
                  <a:srgbClr val="575757"/>
                </a:solidFill>
                <a:latin typeface="Verdana"/>
                <a:cs typeface="Verdana"/>
              </a:rPr>
              <a:t>Close  </a:t>
            </a:r>
            <a:r>
              <a:rPr sz="1200" spc="-65" dirty="0">
                <a:solidFill>
                  <a:srgbClr val="575757"/>
                </a:solidFill>
                <a:latin typeface="Verdana"/>
                <a:cs typeface="Verdana"/>
              </a:rPr>
              <a:t>survey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9350657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9" y="874799"/>
                </a:moveTo>
                <a:lnTo>
                  <a:pt x="0" y="874799"/>
                </a:lnTo>
                <a:lnTo>
                  <a:pt x="105011" y="437399"/>
                </a:lnTo>
                <a:lnTo>
                  <a:pt x="0" y="0"/>
                </a:lnTo>
                <a:lnTo>
                  <a:pt x="1124989" y="0"/>
                </a:lnTo>
                <a:lnTo>
                  <a:pt x="1229999" y="437399"/>
                </a:lnTo>
                <a:lnTo>
                  <a:pt x="1124989" y="874799"/>
                </a:lnTo>
                <a:close/>
              </a:path>
            </a:pathLst>
          </a:custGeom>
          <a:solidFill>
            <a:srgbClr val="EBC5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9585368" y="2112138"/>
            <a:ext cx="7607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7320" marR="5080" indent="-135255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575757"/>
                </a:solidFill>
                <a:latin typeface="Verdana"/>
                <a:cs typeface="Verdana"/>
              </a:rPr>
              <a:t>8.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25" dirty="0">
                <a:solidFill>
                  <a:srgbClr val="575757"/>
                </a:solidFill>
                <a:latin typeface="Verdana"/>
                <a:cs typeface="Verdana"/>
              </a:rPr>
              <a:t>Anal</a:t>
            </a:r>
            <a:r>
              <a:rPr sz="1200" spc="-35" dirty="0">
                <a:solidFill>
                  <a:srgbClr val="575757"/>
                </a:solidFill>
                <a:latin typeface="Verdana"/>
                <a:cs typeface="Verdana"/>
              </a:rPr>
              <a:t>y</a:t>
            </a:r>
            <a:r>
              <a:rPr sz="1200" spc="-25" dirty="0">
                <a:solidFill>
                  <a:srgbClr val="575757"/>
                </a:solidFill>
                <a:latin typeface="Verdana"/>
                <a:cs typeface="Verdana"/>
              </a:rPr>
              <a:t>z</a:t>
            </a:r>
            <a:r>
              <a:rPr sz="1200" spc="-50" dirty="0">
                <a:solidFill>
                  <a:srgbClr val="575757"/>
                </a:solidFill>
                <a:latin typeface="Verdana"/>
                <a:cs typeface="Verdana"/>
              </a:rPr>
              <a:t>e  </a:t>
            </a:r>
            <a:r>
              <a:rPr sz="1200" spc="-55" dirty="0">
                <a:solidFill>
                  <a:srgbClr val="575757"/>
                </a:solidFill>
                <a:latin typeface="Verdana"/>
                <a:cs typeface="Verdana"/>
              </a:rPr>
              <a:t>result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0596467" y="1876413"/>
            <a:ext cx="1229995" cy="875030"/>
          </a:xfrm>
          <a:custGeom>
            <a:avLst/>
            <a:gdLst/>
            <a:ahLst/>
            <a:cxnLst/>
            <a:rect l="l" t="t" r="r" b="b"/>
            <a:pathLst>
              <a:path w="1229995" h="875030">
                <a:moveTo>
                  <a:pt x="1124988" y="874799"/>
                </a:moveTo>
                <a:lnTo>
                  <a:pt x="0" y="874799"/>
                </a:lnTo>
                <a:lnTo>
                  <a:pt x="105010" y="437399"/>
                </a:lnTo>
                <a:lnTo>
                  <a:pt x="0" y="0"/>
                </a:lnTo>
                <a:lnTo>
                  <a:pt x="1124988" y="0"/>
                </a:lnTo>
                <a:lnTo>
                  <a:pt x="1229999" y="437399"/>
                </a:lnTo>
                <a:lnTo>
                  <a:pt x="1124988" y="874799"/>
                </a:lnTo>
                <a:close/>
              </a:path>
            </a:pathLst>
          </a:custGeom>
          <a:solidFill>
            <a:srgbClr val="E71B5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10909513" y="2112138"/>
            <a:ext cx="60452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9215" marR="5080" indent="-57150">
              <a:lnSpc>
                <a:spcPct val="100000"/>
              </a:lnSpc>
              <a:spcBef>
                <a:spcPts val="100"/>
              </a:spcBef>
            </a:pPr>
            <a:r>
              <a:rPr sz="1200" spc="-105" dirty="0">
                <a:solidFill>
                  <a:srgbClr val="FFFFFF"/>
                </a:solidFill>
                <a:latin typeface="Verdana"/>
                <a:cs typeface="Verdana"/>
              </a:rPr>
              <a:t>9.</a:t>
            </a:r>
            <a:r>
              <a:rPr sz="1200" spc="-1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Verdana"/>
                <a:cs typeface="Verdana"/>
              </a:rPr>
              <a:t>Sha</a:t>
            </a:r>
            <a:r>
              <a:rPr sz="12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200" spc="-50" dirty="0">
                <a:solidFill>
                  <a:srgbClr val="FFFFFF"/>
                </a:solidFill>
                <a:latin typeface="Verdana"/>
                <a:cs typeface="Verdana"/>
              </a:rPr>
              <a:t>e  </a:t>
            </a:r>
            <a:r>
              <a:rPr sz="1200" spc="-55" dirty="0">
                <a:solidFill>
                  <a:srgbClr val="FFFFFF"/>
                </a:solidFill>
                <a:latin typeface="Verdana"/>
                <a:cs typeface="Verdana"/>
              </a:rPr>
              <a:t>results</a:t>
            </a:r>
            <a:endParaRPr sz="1200">
              <a:latin typeface="Verdana"/>
              <a:cs typeface="Verdana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657986" y="3397112"/>
            <a:ext cx="233045" cy="1104265"/>
            <a:chOff x="657986" y="3397112"/>
            <a:chExt cx="233045" cy="1104265"/>
          </a:xfrm>
        </p:grpSpPr>
        <p:sp>
          <p:nvSpPr>
            <p:cNvPr id="35" name="object 35"/>
            <p:cNvSpPr/>
            <p:nvPr/>
          </p:nvSpPr>
          <p:spPr>
            <a:xfrm>
              <a:off x="774441" y="3513567"/>
              <a:ext cx="0" cy="987425"/>
            </a:xfrm>
            <a:custGeom>
              <a:avLst/>
              <a:gdLst/>
              <a:ahLst/>
              <a:cxnLst/>
              <a:rect l="l" t="t" r="r" b="b"/>
              <a:pathLst>
                <a:path h="987425">
                  <a:moveTo>
                    <a:pt x="0" y="0"/>
                  </a:moveTo>
                  <a:lnTo>
                    <a:pt x="0" y="987299"/>
                  </a:lnTo>
                </a:path>
              </a:pathLst>
            </a:custGeom>
            <a:ln w="28574">
              <a:solidFill>
                <a:srgbClr val="E71B5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57986" y="3397112"/>
              <a:ext cx="232799" cy="232799"/>
            </a:xfrm>
            <a:prstGeom prst="rect">
              <a:avLst/>
            </a:prstGeom>
          </p:spPr>
        </p:pic>
      </p:grpSp>
      <p:grpSp>
        <p:nvGrpSpPr>
          <p:cNvPr id="37" name="object 37"/>
          <p:cNvGrpSpPr/>
          <p:nvPr/>
        </p:nvGrpSpPr>
        <p:grpSpPr>
          <a:xfrm>
            <a:off x="4398169" y="2872765"/>
            <a:ext cx="233045" cy="711200"/>
            <a:chOff x="4398169" y="2872765"/>
            <a:chExt cx="233045" cy="711200"/>
          </a:xfrm>
        </p:grpSpPr>
        <p:sp>
          <p:nvSpPr>
            <p:cNvPr id="38" name="object 38"/>
            <p:cNvSpPr/>
            <p:nvPr/>
          </p:nvSpPr>
          <p:spPr>
            <a:xfrm>
              <a:off x="4514623" y="2916406"/>
              <a:ext cx="0" cy="667385"/>
            </a:xfrm>
            <a:custGeom>
              <a:avLst/>
              <a:gdLst/>
              <a:ahLst/>
              <a:cxnLst/>
              <a:rect l="l" t="t" r="r" b="b"/>
              <a:pathLst>
                <a:path h="667385">
                  <a:moveTo>
                    <a:pt x="0" y="0"/>
                  </a:moveTo>
                  <a:lnTo>
                    <a:pt x="0" y="667199"/>
                  </a:lnTo>
                </a:path>
              </a:pathLst>
            </a:custGeom>
            <a:ln w="28574">
              <a:solidFill>
                <a:srgbClr val="EBC5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98169" y="2872765"/>
              <a:ext cx="232799" cy="232799"/>
            </a:xfrm>
            <a:prstGeom prst="rect">
              <a:avLst/>
            </a:prstGeom>
          </p:spPr>
        </p:pic>
      </p:grpSp>
      <p:grpSp>
        <p:nvGrpSpPr>
          <p:cNvPr id="40" name="object 40"/>
          <p:cNvGrpSpPr/>
          <p:nvPr/>
        </p:nvGrpSpPr>
        <p:grpSpPr>
          <a:xfrm>
            <a:off x="4398169" y="3796904"/>
            <a:ext cx="233045" cy="946150"/>
            <a:chOff x="4398169" y="3796904"/>
            <a:chExt cx="233045" cy="946150"/>
          </a:xfrm>
        </p:grpSpPr>
        <p:sp>
          <p:nvSpPr>
            <p:cNvPr id="41" name="object 41"/>
            <p:cNvSpPr/>
            <p:nvPr/>
          </p:nvSpPr>
          <p:spPr>
            <a:xfrm>
              <a:off x="4514623" y="3871242"/>
              <a:ext cx="0" cy="871219"/>
            </a:xfrm>
            <a:custGeom>
              <a:avLst/>
              <a:gdLst/>
              <a:ahLst/>
              <a:cxnLst/>
              <a:rect l="l" t="t" r="r" b="b"/>
              <a:pathLst>
                <a:path h="871220">
                  <a:moveTo>
                    <a:pt x="0" y="0"/>
                  </a:moveTo>
                  <a:lnTo>
                    <a:pt x="0" y="871199"/>
                  </a:lnTo>
                </a:path>
              </a:pathLst>
            </a:custGeom>
            <a:ln w="28574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398169" y="3796904"/>
              <a:ext cx="232799" cy="232799"/>
            </a:xfrm>
            <a:prstGeom prst="rect">
              <a:avLst/>
            </a:prstGeom>
          </p:spPr>
        </p:pic>
      </p:grpSp>
      <p:grpSp>
        <p:nvGrpSpPr>
          <p:cNvPr id="43" name="object 43"/>
          <p:cNvGrpSpPr/>
          <p:nvPr/>
        </p:nvGrpSpPr>
        <p:grpSpPr>
          <a:xfrm>
            <a:off x="4398169" y="5082785"/>
            <a:ext cx="233045" cy="732790"/>
            <a:chOff x="4398169" y="5082785"/>
            <a:chExt cx="233045" cy="732790"/>
          </a:xfrm>
        </p:grpSpPr>
        <p:sp>
          <p:nvSpPr>
            <p:cNvPr id="44" name="object 44"/>
            <p:cNvSpPr/>
            <p:nvPr/>
          </p:nvSpPr>
          <p:spPr>
            <a:xfrm>
              <a:off x="4514623" y="5148326"/>
              <a:ext cx="0" cy="667385"/>
            </a:xfrm>
            <a:custGeom>
              <a:avLst/>
              <a:gdLst/>
              <a:ahLst/>
              <a:cxnLst/>
              <a:rect l="l" t="t" r="r" b="b"/>
              <a:pathLst>
                <a:path h="667385">
                  <a:moveTo>
                    <a:pt x="0" y="0"/>
                  </a:moveTo>
                  <a:lnTo>
                    <a:pt x="0" y="667199"/>
                  </a:lnTo>
                </a:path>
              </a:pathLst>
            </a:custGeom>
            <a:ln w="28574">
              <a:solidFill>
                <a:srgbClr val="EBC5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5" name="object 4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98169" y="5082785"/>
              <a:ext cx="232799" cy="232799"/>
            </a:xfrm>
            <a:prstGeom prst="rect">
              <a:avLst/>
            </a:prstGeom>
          </p:spPr>
        </p:pic>
      </p:grpSp>
      <p:pic>
        <p:nvPicPr>
          <p:cNvPr id="46" name="object 4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57986" y="2872765"/>
            <a:ext cx="232799" cy="232799"/>
          </a:xfrm>
          <a:prstGeom prst="rect">
            <a:avLst/>
          </a:prstGeom>
        </p:spPr>
      </p:pic>
      <p:sp>
        <p:nvSpPr>
          <p:cNvPr id="47" name="object 47"/>
          <p:cNvSpPr txBox="1"/>
          <p:nvPr/>
        </p:nvSpPr>
        <p:spPr>
          <a:xfrm>
            <a:off x="723065" y="2878930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23065" y="3403277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49" name="object 4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57986" y="5056109"/>
            <a:ext cx="232799" cy="232799"/>
          </a:xfrm>
          <a:prstGeom prst="rect">
            <a:avLst/>
          </a:prstGeom>
        </p:spPr>
      </p:pic>
      <p:sp>
        <p:nvSpPr>
          <p:cNvPr id="50" name="object 50"/>
          <p:cNvSpPr txBox="1"/>
          <p:nvPr/>
        </p:nvSpPr>
        <p:spPr>
          <a:xfrm>
            <a:off x="723065" y="5062274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463248" y="2878930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463248" y="3803069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4463248" y="5088949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8138500" y="2870831"/>
            <a:ext cx="233045" cy="889000"/>
            <a:chOff x="8138500" y="2870831"/>
            <a:chExt cx="233045" cy="889000"/>
          </a:xfrm>
        </p:grpSpPr>
        <p:sp>
          <p:nvSpPr>
            <p:cNvPr id="55" name="object 55"/>
            <p:cNvSpPr/>
            <p:nvPr/>
          </p:nvSpPr>
          <p:spPr>
            <a:xfrm>
              <a:off x="8254955" y="2890095"/>
              <a:ext cx="0" cy="869950"/>
            </a:xfrm>
            <a:custGeom>
              <a:avLst/>
              <a:gdLst/>
              <a:ahLst/>
              <a:cxnLst/>
              <a:rect l="l" t="t" r="r" b="b"/>
              <a:pathLst>
                <a:path h="869950">
                  <a:moveTo>
                    <a:pt x="0" y="0"/>
                  </a:moveTo>
                  <a:lnTo>
                    <a:pt x="0" y="869399"/>
                  </a:lnTo>
                </a:path>
              </a:pathLst>
            </a:custGeom>
            <a:ln w="28574">
              <a:solidFill>
                <a:srgbClr val="EBC5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138500" y="2870831"/>
              <a:ext cx="232799" cy="232799"/>
            </a:xfrm>
            <a:prstGeom prst="rect">
              <a:avLst/>
            </a:prstGeom>
          </p:spPr>
        </p:pic>
      </p:grpSp>
      <p:grpSp>
        <p:nvGrpSpPr>
          <p:cNvPr id="57" name="object 57"/>
          <p:cNvGrpSpPr/>
          <p:nvPr/>
        </p:nvGrpSpPr>
        <p:grpSpPr>
          <a:xfrm>
            <a:off x="8138500" y="4145433"/>
            <a:ext cx="233045" cy="748665"/>
            <a:chOff x="8138500" y="4145433"/>
            <a:chExt cx="233045" cy="748665"/>
          </a:xfrm>
        </p:grpSpPr>
        <p:sp>
          <p:nvSpPr>
            <p:cNvPr id="58" name="object 58"/>
            <p:cNvSpPr/>
            <p:nvPr/>
          </p:nvSpPr>
          <p:spPr>
            <a:xfrm>
              <a:off x="8254955" y="4223924"/>
              <a:ext cx="0" cy="669925"/>
            </a:xfrm>
            <a:custGeom>
              <a:avLst/>
              <a:gdLst/>
              <a:ahLst/>
              <a:cxnLst/>
              <a:rect l="l" t="t" r="r" b="b"/>
              <a:pathLst>
                <a:path h="669925">
                  <a:moveTo>
                    <a:pt x="0" y="0"/>
                  </a:moveTo>
                  <a:lnTo>
                    <a:pt x="0" y="669899"/>
                  </a:lnTo>
                </a:path>
              </a:pathLst>
            </a:custGeom>
            <a:ln w="28574">
              <a:solidFill>
                <a:srgbClr val="E71B5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5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38500" y="4145433"/>
              <a:ext cx="232799" cy="232799"/>
            </a:xfrm>
            <a:prstGeom prst="rect">
              <a:avLst/>
            </a:prstGeom>
          </p:spPr>
        </p:pic>
      </p:grpSp>
      <p:sp>
        <p:nvSpPr>
          <p:cNvPr id="60" name="object 60"/>
          <p:cNvSpPr txBox="1"/>
          <p:nvPr/>
        </p:nvSpPr>
        <p:spPr>
          <a:xfrm>
            <a:off x="8203579" y="2876996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8203579" y="4151597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9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2" name="object 62"/>
          <p:cNvSpPr txBox="1">
            <a:spLocks noGrp="1"/>
          </p:cNvSpPr>
          <p:nvPr>
            <p:ph type="title"/>
          </p:nvPr>
        </p:nvSpPr>
        <p:spPr>
          <a:xfrm>
            <a:off x="682625" y="519048"/>
            <a:ext cx="1003046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200" spc="40" dirty="0">
                <a:solidFill>
                  <a:srgbClr val="212721"/>
                </a:solidFill>
              </a:rPr>
              <a:t>End-to-end</a:t>
            </a:r>
            <a:r>
              <a:rPr sz="2200" spc="20" dirty="0">
                <a:solidFill>
                  <a:srgbClr val="212721"/>
                </a:solidFill>
              </a:rPr>
              <a:t> </a:t>
            </a:r>
            <a:r>
              <a:rPr sz="2200" spc="-70" dirty="0">
                <a:solidFill>
                  <a:srgbClr val="212721"/>
                </a:solidFill>
              </a:rPr>
              <a:t>Feedback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35" dirty="0">
                <a:solidFill>
                  <a:srgbClr val="212721"/>
                </a:solidFill>
              </a:rPr>
              <a:t>Process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-10" dirty="0">
                <a:solidFill>
                  <a:srgbClr val="212721"/>
                </a:solidFill>
              </a:rPr>
              <a:t>Includes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85" dirty="0">
                <a:solidFill>
                  <a:srgbClr val="212721"/>
                </a:solidFill>
              </a:rPr>
              <a:t>Pain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120" dirty="0">
                <a:solidFill>
                  <a:srgbClr val="212721"/>
                </a:solidFill>
              </a:rPr>
              <a:t>Points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95" dirty="0">
                <a:solidFill>
                  <a:srgbClr val="212721"/>
                </a:solidFill>
              </a:rPr>
              <a:t>Throughout,</a:t>
            </a:r>
            <a:r>
              <a:rPr sz="2200" spc="25" dirty="0">
                <a:solidFill>
                  <a:srgbClr val="212721"/>
                </a:solidFill>
              </a:rPr>
              <a:t> </a:t>
            </a:r>
            <a:r>
              <a:rPr sz="2200" spc="40" dirty="0">
                <a:solidFill>
                  <a:srgbClr val="212721"/>
                </a:solidFill>
              </a:rPr>
              <a:t>Sending </a:t>
            </a:r>
            <a:r>
              <a:rPr sz="2200" spc="-600" dirty="0">
                <a:solidFill>
                  <a:srgbClr val="212721"/>
                </a:solidFill>
              </a:rPr>
              <a:t> </a:t>
            </a:r>
            <a:r>
              <a:rPr sz="2200" spc="40" dirty="0">
                <a:solidFill>
                  <a:srgbClr val="212721"/>
                </a:solidFill>
              </a:rPr>
              <a:t>Reminders</a:t>
            </a:r>
            <a:r>
              <a:rPr sz="2200" spc="15" dirty="0">
                <a:solidFill>
                  <a:srgbClr val="212721"/>
                </a:solidFill>
              </a:rPr>
              <a:t> </a:t>
            </a:r>
            <a:r>
              <a:rPr sz="2200" spc="125" dirty="0">
                <a:solidFill>
                  <a:srgbClr val="212721"/>
                </a:solidFill>
              </a:rPr>
              <a:t>is</a:t>
            </a:r>
            <a:r>
              <a:rPr sz="2200" spc="20" dirty="0">
                <a:solidFill>
                  <a:srgbClr val="212721"/>
                </a:solidFill>
              </a:rPr>
              <a:t> </a:t>
            </a:r>
            <a:r>
              <a:rPr sz="2200" spc="35" dirty="0">
                <a:solidFill>
                  <a:srgbClr val="212721"/>
                </a:solidFill>
              </a:rPr>
              <a:t>the</a:t>
            </a:r>
            <a:r>
              <a:rPr sz="2200" spc="20" dirty="0">
                <a:solidFill>
                  <a:srgbClr val="212721"/>
                </a:solidFill>
              </a:rPr>
              <a:t> </a:t>
            </a:r>
            <a:r>
              <a:rPr sz="2200" spc="90" dirty="0">
                <a:solidFill>
                  <a:srgbClr val="212721"/>
                </a:solidFill>
              </a:rPr>
              <a:t>Largest</a:t>
            </a:r>
            <a:r>
              <a:rPr sz="2200" spc="20" dirty="0">
                <a:solidFill>
                  <a:srgbClr val="212721"/>
                </a:solidFill>
              </a:rPr>
              <a:t> </a:t>
            </a:r>
            <a:r>
              <a:rPr sz="2200" spc="55" dirty="0">
                <a:solidFill>
                  <a:srgbClr val="212721"/>
                </a:solidFill>
              </a:rPr>
              <a:t>Shared</a:t>
            </a:r>
            <a:r>
              <a:rPr sz="2200" spc="20" dirty="0">
                <a:solidFill>
                  <a:srgbClr val="212721"/>
                </a:solidFill>
              </a:rPr>
              <a:t> </a:t>
            </a:r>
            <a:r>
              <a:rPr sz="2200" spc="40" dirty="0">
                <a:solidFill>
                  <a:srgbClr val="212721"/>
                </a:solidFill>
              </a:rPr>
              <a:t>Issue</a:t>
            </a:r>
            <a:endParaRPr sz="22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799" y="0"/>
            <a:ext cx="11971655" cy="6637655"/>
          </a:xfrm>
          <a:custGeom>
            <a:avLst/>
            <a:gdLst/>
            <a:ahLst/>
            <a:cxnLst/>
            <a:rect l="l" t="t" r="r" b="b"/>
            <a:pathLst>
              <a:path w="11971655" h="6637655">
                <a:moveTo>
                  <a:pt x="11971199" y="6637499"/>
                </a:moveTo>
                <a:lnTo>
                  <a:pt x="0" y="6637499"/>
                </a:lnTo>
                <a:lnTo>
                  <a:pt x="0" y="0"/>
                </a:lnTo>
                <a:lnTo>
                  <a:pt x="11971199" y="0"/>
                </a:lnTo>
                <a:lnTo>
                  <a:pt x="11971199" y="66374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01700" y="2450993"/>
            <a:ext cx="7391400" cy="1758950"/>
          </a:xfrm>
          <a:prstGeom prst="rect">
            <a:avLst/>
          </a:prstGeom>
        </p:spPr>
        <p:txBody>
          <a:bodyPr vert="horz" wrap="square" lIns="0" tIns="119380" rIns="0" bIns="0" rtlCol="0">
            <a:spAutoFit/>
          </a:bodyPr>
          <a:lstStyle/>
          <a:p>
            <a:pPr marL="12700" marR="5080">
              <a:lnSpc>
                <a:spcPts val="6450"/>
              </a:lnSpc>
              <a:spcBef>
                <a:spcPts val="940"/>
              </a:spcBef>
            </a:pPr>
            <a:r>
              <a:rPr sz="6000" spc="200" dirty="0">
                <a:solidFill>
                  <a:srgbClr val="212721"/>
                </a:solidFill>
              </a:rPr>
              <a:t>Three</a:t>
            </a:r>
            <a:r>
              <a:rPr sz="6000" spc="35" dirty="0">
                <a:solidFill>
                  <a:srgbClr val="212721"/>
                </a:solidFill>
              </a:rPr>
              <a:t> </a:t>
            </a:r>
            <a:r>
              <a:rPr sz="6000" spc="-80" dirty="0">
                <a:solidFill>
                  <a:srgbClr val="212721"/>
                </a:solidFill>
              </a:rPr>
              <a:t>Key</a:t>
            </a:r>
            <a:r>
              <a:rPr sz="6000" spc="40" dirty="0">
                <a:solidFill>
                  <a:srgbClr val="212721"/>
                </a:solidFill>
              </a:rPr>
              <a:t> </a:t>
            </a:r>
            <a:r>
              <a:rPr sz="6000" spc="330" dirty="0">
                <a:solidFill>
                  <a:srgbClr val="212721"/>
                </a:solidFill>
              </a:rPr>
              <a:t>Priorities </a:t>
            </a:r>
            <a:r>
              <a:rPr sz="6000" spc="-1664" dirty="0">
                <a:solidFill>
                  <a:srgbClr val="212721"/>
                </a:solidFill>
              </a:rPr>
              <a:t> </a:t>
            </a:r>
            <a:r>
              <a:rPr sz="6000" spc="415" dirty="0">
                <a:solidFill>
                  <a:srgbClr val="212721"/>
                </a:solidFill>
              </a:rPr>
              <a:t>for</a:t>
            </a:r>
            <a:r>
              <a:rPr sz="6000" spc="55" dirty="0">
                <a:solidFill>
                  <a:srgbClr val="212721"/>
                </a:solidFill>
              </a:rPr>
              <a:t> </a:t>
            </a:r>
            <a:r>
              <a:rPr sz="6000" spc="240" dirty="0">
                <a:solidFill>
                  <a:srgbClr val="212721"/>
                </a:solidFill>
              </a:rPr>
              <a:t>2022</a:t>
            </a:r>
            <a:endParaRPr sz="600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664781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65" dirty="0">
                <a:solidFill>
                  <a:srgbClr val="212721"/>
                </a:solidFill>
              </a:rPr>
              <a:t>Aid</a:t>
            </a:r>
            <a:r>
              <a:rPr spc="5" dirty="0">
                <a:solidFill>
                  <a:srgbClr val="212721"/>
                </a:solidFill>
              </a:rPr>
              <a:t> </a:t>
            </a:r>
            <a:r>
              <a:rPr spc="95" dirty="0">
                <a:solidFill>
                  <a:srgbClr val="212721"/>
                </a:solidFill>
              </a:rPr>
              <a:t>Survey</a:t>
            </a:r>
            <a:r>
              <a:rPr spc="10" dirty="0">
                <a:solidFill>
                  <a:srgbClr val="212721"/>
                </a:solidFill>
              </a:rPr>
              <a:t> </a:t>
            </a:r>
            <a:r>
              <a:rPr spc="110" dirty="0">
                <a:solidFill>
                  <a:srgbClr val="212721"/>
                </a:solidFill>
              </a:rPr>
              <a:t>Setup</a:t>
            </a:r>
            <a:r>
              <a:rPr spc="5" dirty="0">
                <a:solidFill>
                  <a:srgbClr val="212721"/>
                </a:solidFill>
              </a:rPr>
              <a:t> </a:t>
            </a:r>
            <a:r>
              <a:rPr dirty="0">
                <a:solidFill>
                  <a:srgbClr val="212721"/>
                </a:solidFill>
              </a:rPr>
              <a:t>Cognitive</a:t>
            </a:r>
            <a:r>
              <a:rPr spc="10" dirty="0">
                <a:solidFill>
                  <a:srgbClr val="212721"/>
                </a:solidFill>
              </a:rPr>
              <a:t> </a:t>
            </a:r>
            <a:r>
              <a:rPr spc="60" dirty="0">
                <a:solidFill>
                  <a:srgbClr val="212721"/>
                </a:solidFill>
              </a:rPr>
              <a:t>Load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7375" y="1210532"/>
            <a:ext cx="6920230" cy="6921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5100"/>
              </a:lnSpc>
              <a:spcBef>
                <a:spcPts val="100"/>
              </a:spcBef>
            </a:pPr>
            <a:r>
              <a:rPr sz="19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Make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55" dirty="0">
                <a:solidFill>
                  <a:srgbClr val="1ED75F"/>
                </a:solidFill>
                <a:latin typeface="Century Gothic"/>
                <a:cs typeface="Century Gothic"/>
              </a:rPr>
              <a:t>it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easier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10" dirty="0">
                <a:solidFill>
                  <a:srgbClr val="1ED75F"/>
                </a:solidFill>
                <a:latin typeface="Century Gothic"/>
                <a:cs typeface="Century Gothic"/>
              </a:rPr>
              <a:t>ﬁnd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a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template</a:t>
            </a:r>
            <a:r>
              <a:rPr sz="19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35" dirty="0">
                <a:solidFill>
                  <a:srgbClr val="1ED75F"/>
                </a:solidFill>
                <a:latin typeface="Century Gothic"/>
                <a:cs typeface="Century Gothic"/>
              </a:rPr>
              <a:t>with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the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right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questions. </a:t>
            </a:r>
            <a:r>
              <a:rPr sz="1900" b="1" spc="-5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50" dirty="0">
                <a:solidFill>
                  <a:srgbClr val="1ED75F"/>
                </a:solidFill>
                <a:latin typeface="Century Gothic"/>
                <a:cs typeface="Century Gothic"/>
              </a:rPr>
              <a:t>Streamline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custom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editing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add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instructor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names.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7375" y="2378297"/>
            <a:ext cx="516382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improve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20" dirty="0">
                <a:solidFill>
                  <a:srgbClr val="525A5A"/>
                </a:solidFill>
                <a:latin typeface="Century Gothic"/>
                <a:cs typeface="Century Gothic"/>
              </a:rPr>
              <a:t>this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ask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50" dirty="0">
                <a:solidFill>
                  <a:srgbClr val="525A5A"/>
                </a:solidFill>
                <a:latin typeface="Century Gothic"/>
                <a:cs typeface="Century Gothic"/>
              </a:rPr>
              <a:t>ﬂow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3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30" dirty="0">
                <a:solidFill>
                  <a:srgbClr val="525A5A"/>
                </a:solidFill>
                <a:latin typeface="Century Gothic"/>
                <a:cs typeface="Century Gothic"/>
              </a:rPr>
              <a:t>learners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4363" y="2779491"/>
            <a:ext cx="6591300" cy="539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marR="5080" indent="-316230">
              <a:lnSpc>
                <a:spcPct val="129800"/>
              </a:lnSpc>
              <a:spcBef>
                <a:spcPts val="10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Answer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LCs’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tions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with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meaningful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template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tion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descriptions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before </a:t>
            </a:r>
            <a:r>
              <a:rPr sz="1300" spc="-4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C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select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ttach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copy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edi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during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“Creation”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phase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54363" y="3476721"/>
            <a:ext cx="6066155" cy="2235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indent="-316230">
              <a:lnSpc>
                <a:spcPct val="100000"/>
              </a:lnSpc>
              <a:spcBef>
                <a:spcPts val="10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Address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ﬁle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navigation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in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the 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interface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70" dirty="0">
                <a:solidFill>
                  <a:srgbClr val="525A5A"/>
                </a:solidFill>
                <a:latin typeface="Century Gothic"/>
                <a:cs typeface="Century Gothic"/>
              </a:rPr>
              <a:t>reduce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the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memory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tax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on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LCs.</a:t>
            </a:r>
            <a:endParaRPr sz="1300">
              <a:latin typeface="Century Gothic"/>
              <a:cs typeface="Century Gothic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4363" y="3798666"/>
            <a:ext cx="6823709" cy="11779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marR="208915" indent="-316230">
              <a:lnSpc>
                <a:spcPct val="129800"/>
              </a:lnSpc>
              <a:spcBef>
                <a:spcPts val="10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Provid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" dirty="0">
                <a:solidFill>
                  <a:srgbClr val="525A5A"/>
                </a:solidFill>
                <a:latin typeface="Verdana"/>
                <a:cs typeface="Verdana"/>
              </a:rPr>
              <a:t>a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persisten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survey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preview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or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summary,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s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C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ca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sca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track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tion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ype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de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whil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editing.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29800"/>
              </a:lnSpc>
              <a:spcBef>
                <a:spcPts val="975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-75" dirty="0">
                <a:solidFill>
                  <a:srgbClr val="525A5A"/>
                </a:solidFill>
                <a:latin typeface="Century Gothic"/>
                <a:cs typeface="Century Gothic"/>
              </a:rPr>
              <a:t>Mak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60" dirty="0">
                <a:solidFill>
                  <a:srgbClr val="525A5A"/>
                </a:solidFill>
                <a:latin typeface="Century Gothic"/>
                <a:cs typeface="Century Gothic"/>
              </a:rPr>
              <a:t>i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easier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4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LCs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5" dirty="0">
                <a:solidFill>
                  <a:srgbClr val="525A5A"/>
                </a:solidFill>
                <a:latin typeface="Century Gothic"/>
                <a:cs typeface="Century Gothic"/>
              </a:rPr>
              <a:t>add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multipl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75" dirty="0">
                <a:solidFill>
                  <a:srgbClr val="525A5A"/>
                </a:solidFill>
                <a:latin typeface="Century Gothic"/>
                <a:cs typeface="Century Gothic"/>
              </a:rPr>
              <a:t>coaches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“selec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your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coach”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tion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one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e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p</a:t>
            </a:r>
            <a:r>
              <a:rPr sz="1300" spc="-17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Batch</a:t>
            </a: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-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ad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comment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ve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al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ion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300" spc="-17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677480" y="1601584"/>
            <a:ext cx="2047239" cy="825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spe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1-2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hou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anually 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dd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coach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nam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su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o 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y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a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collec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individuali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z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ed 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edbac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50" dirty="0">
                <a:solidFill>
                  <a:srgbClr val="FFFFFF"/>
                </a:solidFill>
                <a:latin typeface="Verdana"/>
                <a:cs typeface="Verdana"/>
              </a:rPr>
              <a:t>(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alu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coaches)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677479" y="2722412"/>
            <a:ext cx="1775460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Saba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70" dirty="0">
                <a:solidFill>
                  <a:srgbClr val="1ED75F"/>
                </a:solidFill>
                <a:latin typeface="Century Gothic"/>
                <a:cs typeface="Century Gothic"/>
              </a:rPr>
              <a:t>w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orkﬂ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w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is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n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’</a:t>
            </a:r>
            <a:r>
              <a:rPr sz="10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 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currently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designed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support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batch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import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of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coach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nam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global 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dditio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commen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ﬁel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xi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que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tion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9199434" y="1633360"/>
            <a:ext cx="240029" cy="3173730"/>
            <a:chOff x="9199434" y="1633360"/>
            <a:chExt cx="240029" cy="3173730"/>
          </a:xfrm>
        </p:grpSpPr>
        <p:sp>
          <p:nvSpPr>
            <p:cNvPr id="15" name="object 15"/>
            <p:cNvSpPr/>
            <p:nvPr/>
          </p:nvSpPr>
          <p:spPr>
            <a:xfrm>
              <a:off x="9319284" y="1873061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39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9199422" y="2817952"/>
              <a:ext cx="240029" cy="1989455"/>
            </a:xfrm>
            <a:custGeom>
              <a:avLst/>
              <a:gdLst/>
              <a:ahLst/>
              <a:cxnLst/>
              <a:rect l="l" t="t" r="r" b="b"/>
              <a:pathLst>
                <a:path w="240029" h="1989454">
                  <a:moveTo>
                    <a:pt x="239699" y="1869287"/>
                  </a:moveTo>
                  <a:lnTo>
                    <a:pt x="119849" y="1749437"/>
                  </a:lnTo>
                  <a:lnTo>
                    <a:pt x="0" y="1869287"/>
                  </a:lnTo>
                  <a:lnTo>
                    <a:pt x="119849" y="1989137"/>
                  </a:lnTo>
                  <a:lnTo>
                    <a:pt x="239699" y="1869287"/>
                  </a:lnTo>
                  <a:close/>
                </a:path>
                <a:path w="240029" h="1989454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481924" y="2806105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398581" y="4562566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657426" y="4535594"/>
            <a:ext cx="2084070" cy="10255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44450">
              <a:lnSpc>
                <a:spcPct val="131300"/>
              </a:lnSpc>
              <a:spcBef>
                <a:spcPts val="100"/>
              </a:spcBef>
            </a:pP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sult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anu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ocess 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c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eas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ppea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ranc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many 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xtr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que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tion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o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su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105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  <a:p>
            <a:pPr marL="12700" marR="5080">
              <a:lnSpc>
                <a:spcPct val="131300"/>
              </a:lnSpc>
            </a:pP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Too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many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questions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on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the survey </a:t>
            </a:r>
            <a:r>
              <a:rPr sz="1000" b="1" spc="-26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reduces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learner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response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rates.</a:t>
            </a:r>
            <a:endParaRPr sz="1000">
              <a:latin typeface="Century Gothic"/>
              <a:cs typeface="Century Gothic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645249" y="603139"/>
            <a:ext cx="291401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55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114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125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6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1927225" cy="259715"/>
          </a:xfrm>
          <a:custGeom>
            <a:avLst/>
            <a:gdLst/>
            <a:ahLst/>
            <a:cxnLst/>
            <a:rect l="l" t="t" r="r" b="b"/>
            <a:pathLst>
              <a:path w="1927225" h="259715">
                <a:moveTo>
                  <a:pt x="1926899" y="259499"/>
                </a:moveTo>
                <a:lnTo>
                  <a:pt x="0" y="259499"/>
                </a:lnTo>
                <a:lnTo>
                  <a:pt x="0" y="0"/>
                </a:lnTo>
                <a:lnTo>
                  <a:pt x="1926899" y="0"/>
                </a:lnTo>
                <a:lnTo>
                  <a:pt x="1926899" y="259499"/>
                </a:lnTo>
                <a:close/>
              </a:path>
            </a:pathLst>
          </a:custGeom>
          <a:solidFill>
            <a:srgbClr val="09C4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3025" y="5163"/>
            <a:ext cx="74866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5" dirty="0">
                <a:latin typeface="Century Gothic"/>
                <a:cs typeface="Century Gothic"/>
              </a:rPr>
              <a:t>Cr</a:t>
            </a:r>
            <a:r>
              <a:rPr sz="1400" b="1" spc="-20" dirty="0">
                <a:latin typeface="Century Gothic"/>
                <a:cs typeface="Century Gothic"/>
              </a:rPr>
              <a:t>eatio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15</a:t>
            </a:fld>
            <a:endParaRPr spc="-3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514540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110" dirty="0">
                <a:solidFill>
                  <a:srgbClr val="212721"/>
                </a:solidFill>
              </a:rPr>
              <a:t>Easier</a:t>
            </a:r>
            <a:r>
              <a:rPr spc="-15" dirty="0">
                <a:solidFill>
                  <a:srgbClr val="212721"/>
                </a:solidFill>
              </a:rPr>
              <a:t> </a:t>
            </a:r>
            <a:r>
              <a:rPr spc="30" dirty="0">
                <a:solidFill>
                  <a:srgbClr val="212721"/>
                </a:solidFill>
              </a:rPr>
              <a:t>Custom</a:t>
            </a:r>
            <a:r>
              <a:rPr spc="-10" dirty="0">
                <a:solidFill>
                  <a:srgbClr val="212721"/>
                </a:solidFill>
              </a:rPr>
              <a:t> </a:t>
            </a:r>
            <a:r>
              <a:rPr spc="60" dirty="0">
                <a:solidFill>
                  <a:srgbClr val="212721"/>
                </a:solidFill>
              </a:rPr>
              <a:t>Reminder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7374" y="1254347"/>
            <a:ext cx="612013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Support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custom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reminders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35" dirty="0">
                <a:solidFill>
                  <a:srgbClr val="1ED75F"/>
                </a:solidFill>
                <a:latin typeface="Century Gothic"/>
                <a:cs typeface="Century Gothic"/>
              </a:rPr>
              <a:t>with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direct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survey</a:t>
            </a:r>
            <a:r>
              <a:rPr sz="19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links.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7374" y="2063972"/>
            <a:ext cx="516382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improve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20" dirty="0">
                <a:solidFill>
                  <a:srgbClr val="525A5A"/>
                </a:solidFill>
                <a:latin typeface="Century Gothic"/>
                <a:cs typeface="Century Gothic"/>
              </a:rPr>
              <a:t>this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ask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50" dirty="0">
                <a:solidFill>
                  <a:srgbClr val="525A5A"/>
                </a:solidFill>
                <a:latin typeface="Century Gothic"/>
                <a:cs typeface="Century Gothic"/>
              </a:rPr>
              <a:t>ﬂow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3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30" dirty="0">
                <a:solidFill>
                  <a:srgbClr val="525A5A"/>
                </a:solidFill>
                <a:latin typeface="Century Gothic"/>
                <a:cs typeface="Century Gothic"/>
              </a:rPr>
              <a:t>learners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4363" y="2446116"/>
            <a:ext cx="6354445" cy="19399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marR="276860" indent="-316230">
              <a:lnSpc>
                <a:spcPct val="129800"/>
              </a:lnSpc>
              <a:spcBef>
                <a:spcPts val="100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40" dirty="0">
                <a:solidFill>
                  <a:srgbClr val="525A5A"/>
                </a:solidFill>
                <a:latin typeface="Century Gothic"/>
                <a:cs typeface="Century Gothic"/>
              </a:rPr>
              <a:t>Filter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and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generat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mail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60" dirty="0">
                <a:solidFill>
                  <a:srgbClr val="525A5A"/>
                </a:solidFill>
                <a:latin typeface="Century Gothic"/>
                <a:cs typeface="Century Gothic"/>
              </a:rPr>
              <a:t>lists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of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non-responding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learners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order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arget </a:t>
            </a:r>
            <a:r>
              <a:rPr sz="1300" spc="-4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messaging.</a:t>
            </a:r>
            <a:endParaRPr sz="13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1ED75F"/>
              </a:buClr>
              <a:buFont typeface="Verdana"/>
              <a:buChar char="•"/>
            </a:pPr>
            <a:endParaRPr sz="1150">
              <a:latin typeface="Verdana"/>
              <a:cs typeface="Verdana"/>
            </a:endParaRPr>
          </a:p>
          <a:p>
            <a:pPr marL="328295" indent="-316230">
              <a:lnSpc>
                <a:spcPct val="100000"/>
              </a:lnSpc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Add,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edit,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35" dirty="0">
                <a:solidFill>
                  <a:srgbClr val="525A5A"/>
                </a:solidFill>
                <a:latin typeface="Century Gothic"/>
                <a:cs typeface="Century Gothic"/>
              </a:rPr>
              <a:t>and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50" dirty="0">
                <a:solidFill>
                  <a:srgbClr val="525A5A"/>
                </a:solidFill>
                <a:latin typeface="Century Gothic"/>
                <a:cs typeface="Century Gothic"/>
              </a:rPr>
              <a:t>schedule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custom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messages</a:t>
            </a:r>
            <a:r>
              <a:rPr sz="1300" b="1" spc="-3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withi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Saba.</a:t>
            </a:r>
            <a:endParaRPr sz="13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1ED75F"/>
              </a:buClr>
              <a:buFont typeface="Verdana"/>
              <a:buChar char="•"/>
            </a:pPr>
            <a:endParaRPr sz="1150">
              <a:latin typeface="Verdana"/>
              <a:cs typeface="Verdana"/>
            </a:endParaRPr>
          </a:p>
          <a:p>
            <a:pPr marL="328295" indent="-316230">
              <a:lnSpc>
                <a:spcPct val="100000"/>
              </a:lnSpc>
              <a:spcBef>
                <a:spcPts val="5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Allow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4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direct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survey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links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external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custom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messages.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29800"/>
              </a:lnSpc>
              <a:spcBef>
                <a:spcPts val="975"/>
              </a:spcBef>
              <a:buClr>
                <a:srgbClr val="1ED75F"/>
              </a:buClr>
              <a:buFont typeface="Verdana"/>
              <a:buChar char="•"/>
              <a:tabLst>
                <a:tab pos="328295" algn="l"/>
                <a:tab pos="328930" algn="l"/>
              </a:tabLst>
            </a:pP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Address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Pain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#1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ai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Cs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with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survey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design…an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indirect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but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95" dirty="0">
                <a:solidFill>
                  <a:srgbClr val="525A5A"/>
                </a:solidFill>
                <a:latin typeface="Verdana"/>
                <a:cs typeface="Verdana"/>
              </a:rPr>
              <a:t>key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impact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may </a:t>
            </a:r>
            <a:r>
              <a:rPr sz="1300" spc="-4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b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0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educ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numbe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su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v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ey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ques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ion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300" spc="-175" dirty="0">
                <a:solidFill>
                  <a:srgbClr val="525A5A"/>
                </a:solidFill>
                <a:latin typeface="Verdana"/>
                <a:cs typeface="Verdana"/>
              </a:rPr>
              <a:t>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677480" y="1601584"/>
            <a:ext cx="2128520" cy="10255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c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ea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edbac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esponse 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te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1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mu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c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40" dirty="0">
                <a:solidFill>
                  <a:srgbClr val="1ED75F"/>
                </a:solidFill>
                <a:latin typeface="Century Gothic"/>
                <a:cs typeface="Century Gothic"/>
              </a:rPr>
              <a:t>eat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cus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tom 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nudg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message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outsid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Sab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but 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he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do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n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’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ha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di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c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lin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he  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survey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677479" y="2722412"/>
            <a:ext cx="1734185" cy="1425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kn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5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ha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spon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te 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par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amoun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bu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a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n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’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cus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omi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z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chedule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cus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om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essag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non-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esponding 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l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th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40" dirty="0">
                <a:solidFill>
                  <a:srgbClr val="1ED75F"/>
                </a:solidFill>
                <a:latin typeface="Century Gothic"/>
                <a:cs typeface="Century Gothic"/>
              </a:rPr>
              <a:t>y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turn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to 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time-consuming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manual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tactics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using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other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tools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9199434" y="1633360"/>
            <a:ext cx="240029" cy="3173730"/>
            <a:chOff x="9199434" y="1633360"/>
            <a:chExt cx="240029" cy="3173730"/>
          </a:xfrm>
        </p:grpSpPr>
        <p:sp>
          <p:nvSpPr>
            <p:cNvPr id="13" name="object 13"/>
            <p:cNvSpPr/>
            <p:nvPr/>
          </p:nvSpPr>
          <p:spPr>
            <a:xfrm>
              <a:off x="9319284" y="1873061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39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9199422" y="2817952"/>
              <a:ext cx="240029" cy="1989455"/>
            </a:xfrm>
            <a:custGeom>
              <a:avLst/>
              <a:gdLst/>
              <a:ahLst/>
              <a:cxnLst/>
              <a:rect l="l" t="t" r="r" b="b"/>
              <a:pathLst>
                <a:path w="240029" h="1989454">
                  <a:moveTo>
                    <a:pt x="239699" y="1869287"/>
                  </a:moveTo>
                  <a:lnTo>
                    <a:pt x="119849" y="1749437"/>
                  </a:lnTo>
                  <a:lnTo>
                    <a:pt x="0" y="1869287"/>
                  </a:lnTo>
                  <a:lnTo>
                    <a:pt x="119849" y="1989137"/>
                  </a:lnTo>
                  <a:lnTo>
                    <a:pt x="239699" y="1869287"/>
                  </a:lnTo>
                  <a:close/>
                </a:path>
                <a:path w="240029" h="1989454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81924" y="2806105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98581" y="4562566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657414" y="4535604"/>
            <a:ext cx="1767205" cy="625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po</a:t>
            </a:r>
            <a:r>
              <a:rPr sz="1000" spc="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he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manual 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cesse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c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at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1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g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eates</a:t>
            </a:r>
            <a:r>
              <a:rPr sz="10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  </a:t>
            </a:r>
            <a:r>
              <a:rPr sz="1000" b="1" spc="-40" dirty="0">
                <a:solidFill>
                  <a:srgbClr val="1ED75F"/>
                </a:solidFill>
                <a:latin typeface="Century Gothic"/>
                <a:cs typeface="Century Gothic"/>
              </a:rPr>
              <a:t>challenge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heir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teams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645249" y="603139"/>
            <a:ext cx="291401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55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114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125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6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0" y="0"/>
            <a:ext cx="1927225" cy="259715"/>
          </a:xfrm>
          <a:custGeom>
            <a:avLst/>
            <a:gdLst/>
            <a:ahLst/>
            <a:cxnLst/>
            <a:rect l="l" t="t" r="r" b="b"/>
            <a:pathLst>
              <a:path w="1927225" h="259715">
                <a:moveTo>
                  <a:pt x="1926899" y="259499"/>
                </a:moveTo>
                <a:lnTo>
                  <a:pt x="0" y="259499"/>
                </a:lnTo>
                <a:lnTo>
                  <a:pt x="0" y="0"/>
                </a:lnTo>
                <a:lnTo>
                  <a:pt x="1926899" y="0"/>
                </a:lnTo>
                <a:lnTo>
                  <a:pt x="1926899" y="2594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3025" y="5163"/>
            <a:ext cx="1020444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65" dirty="0">
                <a:latin typeface="Century Gothic"/>
                <a:cs typeface="Century Gothic"/>
              </a:rPr>
              <a:t>Di</a:t>
            </a:r>
            <a:r>
              <a:rPr sz="1400" b="1" spc="50" dirty="0">
                <a:latin typeface="Century Gothic"/>
                <a:cs typeface="Century Gothic"/>
              </a:rPr>
              <a:t>s</a:t>
            </a:r>
            <a:r>
              <a:rPr sz="1400" b="1" spc="25" dirty="0">
                <a:latin typeface="Century Gothic"/>
                <a:cs typeface="Century Gothic"/>
              </a:rPr>
              <a:t>tributio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16</a:t>
            </a:fld>
            <a:endParaRPr spc="-30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6947534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5" dirty="0">
                <a:solidFill>
                  <a:srgbClr val="212721"/>
                </a:solidFill>
              </a:rPr>
              <a:t>Improve</a:t>
            </a:r>
            <a:r>
              <a:rPr spc="20" dirty="0">
                <a:solidFill>
                  <a:srgbClr val="212721"/>
                </a:solidFill>
              </a:rPr>
              <a:t> </a:t>
            </a:r>
            <a:r>
              <a:rPr spc="60" dirty="0">
                <a:solidFill>
                  <a:srgbClr val="212721"/>
                </a:solidFill>
              </a:rPr>
              <a:t>Sending</a:t>
            </a:r>
            <a:r>
              <a:rPr spc="25" dirty="0">
                <a:solidFill>
                  <a:srgbClr val="212721"/>
                </a:solidFill>
              </a:rPr>
              <a:t> Detailed </a:t>
            </a:r>
            <a:r>
              <a:rPr spc="160" dirty="0">
                <a:solidFill>
                  <a:srgbClr val="212721"/>
                </a:solidFill>
              </a:rPr>
              <a:t>Report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7374" y="1210532"/>
            <a:ext cx="5957570" cy="6921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5100"/>
              </a:lnSpc>
              <a:spcBef>
                <a:spcPts val="100"/>
              </a:spcBef>
            </a:pPr>
            <a:r>
              <a:rPr sz="1900" b="1" spc="50" dirty="0">
                <a:solidFill>
                  <a:srgbClr val="1ED75F"/>
                </a:solidFill>
                <a:latin typeface="Century Gothic"/>
                <a:cs typeface="Century Gothic"/>
              </a:rPr>
              <a:t>Streamline </a:t>
            </a:r>
            <a:r>
              <a:rPr sz="19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how </a:t>
            </a:r>
            <a:r>
              <a:rPr sz="19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LCs </a:t>
            </a:r>
            <a:r>
              <a:rPr sz="19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generate </a:t>
            </a:r>
            <a:r>
              <a:rPr sz="19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 </a:t>
            </a:r>
            <a:r>
              <a:rPr sz="19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share </a:t>
            </a:r>
            <a:r>
              <a:rPr sz="1900" b="1" spc="-55" dirty="0">
                <a:solidFill>
                  <a:srgbClr val="1ED75F"/>
                </a:solidFill>
                <a:latin typeface="Century Gothic"/>
                <a:cs typeface="Century Gothic"/>
              </a:rPr>
              <a:t>feedback </a:t>
            </a:r>
            <a:r>
              <a:rPr sz="1900" b="1" spc="-5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135" dirty="0">
                <a:solidFill>
                  <a:srgbClr val="1ED75F"/>
                </a:solidFill>
                <a:latin typeface="Century Gothic"/>
                <a:cs typeface="Century Gothic"/>
              </a:rPr>
              <a:t>with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multiple</a:t>
            </a:r>
            <a:r>
              <a:rPr sz="19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coaches.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7374" y="2254472"/>
            <a:ext cx="516382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improve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20" dirty="0">
                <a:solidFill>
                  <a:srgbClr val="525A5A"/>
                </a:solidFill>
                <a:latin typeface="Century Gothic"/>
                <a:cs typeface="Century Gothic"/>
              </a:rPr>
              <a:t>this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ask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50" dirty="0">
                <a:solidFill>
                  <a:srgbClr val="525A5A"/>
                </a:solidFill>
                <a:latin typeface="Century Gothic"/>
                <a:cs typeface="Century Gothic"/>
              </a:rPr>
              <a:t>ﬂow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130" dirty="0">
                <a:solidFill>
                  <a:srgbClr val="525A5A"/>
                </a:solidFill>
                <a:latin typeface="Century Gothic"/>
                <a:cs typeface="Century Gothic"/>
              </a:rPr>
              <a:t>for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30" dirty="0">
                <a:solidFill>
                  <a:srgbClr val="525A5A"/>
                </a:solidFill>
                <a:latin typeface="Century Gothic"/>
                <a:cs typeface="Century Gothic"/>
              </a:rPr>
              <a:t>learners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4363" y="2655666"/>
            <a:ext cx="6231890" cy="14351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marR="151130" indent="-316230">
              <a:lnSpc>
                <a:spcPct val="129800"/>
              </a:lnSpc>
              <a:spcBef>
                <a:spcPts val="10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Suppor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way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for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C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us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Saba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ableau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b="1" spc="-20" dirty="0">
                <a:solidFill>
                  <a:srgbClr val="525A5A"/>
                </a:solidFill>
                <a:latin typeface="Century Gothic"/>
                <a:cs typeface="Century Gothic"/>
              </a:rPr>
              <a:t>automatically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batch</a:t>
            </a:r>
            <a:r>
              <a:rPr sz="13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45" dirty="0">
                <a:solidFill>
                  <a:srgbClr val="525A5A"/>
                </a:solidFill>
                <a:latin typeface="Century Gothic"/>
                <a:cs typeface="Century Gothic"/>
              </a:rPr>
              <a:t>ﬁlter </a:t>
            </a:r>
            <a:r>
              <a:rPr sz="1300" b="1" spc="-35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individual </a:t>
            </a:r>
            <a:r>
              <a:rPr sz="1300" b="1" spc="-95" dirty="0">
                <a:solidFill>
                  <a:srgbClr val="525A5A"/>
                </a:solidFill>
                <a:latin typeface="Century Gothic"/>
                <a:cs typeface="Century Gothic"/>
              </a:rPr>
              <a:t>coach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65" dirty="0">
                <a:solidFill>
                  <a:srgbClr val="525A5A"/>
                </a:solidFill>
                <a:latin typeface="Century Gothic"/>
                <a:cs typeface="Century Gothic"/>
              </a:rPr>
              <a:t>feedback</a:t>
            </a:r>
            <a:r>
              <a:rPr sz="1300" b="1" spc="-3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result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sen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directly.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29800"/>
              </a:lnSpc>
              <a:spcBef>
                <a:spcPts val="975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Help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Cs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 </a:t>
            </a:r>
            <a:r>
              <a:rPr sz="1300" b="1" spc="-30" dirty="0">
                <a:solidFill>
                  <a:srgbClr val="525A5A"/>
                </a:solidFill>
                <a:latin typeface="Century Gothic"/>
                <a:cs typeface="Century Gothic"/>
              </a:rPr>
              <a:t>analyze 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data </a:t>
            </a:r>
            <a:r>
              <a:rPr sz="13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more 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effectively </a:t>
            </a:r>
            <a:r>
              <a:rPr sz="1300" spc="-140" dirty="0">
                <a:solidFill>
                  <a:srgbClr val="525A5A"/>
                </a:solidFill>
                <a:latin typeface="Verdana"/>
                <a:cs typeface="Verdana"/>
              </a:rPr>
              <a:t>(e.g.,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using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cross-tabulation,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55" dirty="0">
                <a:solidFill>
                  <a:srgbClr val="525A5A"/>
                </a:solidFill>
                <a:latin typeface="Verdana"/>
                <a:cs typeface="Verdana"/>
              </a:rPr>
              <a:t>w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eighing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accu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acy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l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65" dirty="0">
                <a:solidFill>
                  <a:srgbClr val="525A5A"/>
                </a:solidFill>
                <a:latin typeface="Verdana"/>
                <a:cs typeface="Verdana"/>
              </a:rPr>
              <a:t>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0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espons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0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ates)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using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-125" dirty="0">
                <a:solidFill>
                  <a:srgbClr val="525A5A"/>
                </a:solidFill>
                <a:latin typeface="Century Gothic"/>
                <a:cs typeface="Century Gothic"/>
              </a:rPr>
              <a:t>e</a:t>
            </a:r>
            <a:r>
              <a:rPr sz="13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xi</a:t>
            </a:r>
            <a:r>
              <a:rPr sz="1300" b="1" spc="20" dirty="0">
                <a:solidFill>
                  <a:srgbClr val="525A5A"/>
                </a:solidFill>
                <a:latin typeface="Century Gothic"/>
                <a:cs typeface="Century Gothic"/>
              </a:rPr>
              <a:t>sting</a:t>
            </a:r>
            <a:r>
              <a:rPr sz="1300" b="1" spc="-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b="1" spc="100" dirty="0">
                <a:solidFill>
                  <a:srgbClr val="525A5A"/>
                </a:solidFill>
                <a:latin typeface="Century Gothic"/>
                <a:cs typeface="Century Gothic"/>
              </a:rPr>
              <a:t>f</a:t>
            </a:r>
            <a:r>
              <a:rPr sz="1300" b="1" dirty="0">
                <a:solidFill>
                  <a:srgbClr val="525A5A"/>
                </a:solidFill>
                <a:latin typeface="Century Gothic"/>
                <a:cs typeface="Century Gothic"/>
              </a:rPr>
              <a:t>eatu</a:t>
            </a:r>
            <a:r>
              <a:rPr sz="1300" b="1" spc="-15" dirty="0">
                <a:solidFill>
                  <a:srgbClr val="525A5A"/>
                </a:solidFill>
                <a:latin typeface="Century Gothic"/>
                <a:cs typeface="Century Gothic"/>
              </a:rPr>
              <a:t>r</a:t>
            </a:r>
            <a:r>
              <a:rPr sz="1300" b="1" spc="-25" dirty="0">
                <a:solidFill>
                  <a:srgbClr val="525A5A"/>
                </a:solidFill>
                <a:latin typeface="Century Gothic"/>
                <a:cs typeface="Century Gothic"/>
              </a:rPr>
              <a:t>es</a:t>
            </a:r>
            <a:r>
              <a:rPr sz="1300" b="1" spc="-3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Saba 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ableau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677480" y="1601584"/>
            <a:ext cx="2045970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har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edbac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sult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with 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aine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1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L</a:t>
            </a:r>
            <a:r>
              <a:rPr sz="1000" b="1" spc="-110" dirty="0">
                <a:solidFill>
                  <a:srgbClr val="1ED75F"/>
                </a:solidFill>
                <a:latin typeface="Century Gothic"/>
                <a:cs typeface="Century Gothic"/>
              </a:rPr>
              <a:t>C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20" dirty="0">
                <a:solidFill>
                  <a:srgbClr val="1ED75F"/>
                </a:solidFill>
                <a:latin typeface="Century Gothic"/>
                <a:cs typeface="Century Gothic"/>
              </a:rPr>
              <a:t>a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95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using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manual 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hack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gather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individual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trainer </a:t>
            </a:r>
            <a:r>
              <a:rPr sz="1000" b="1" spc="-26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comments and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paste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screenshots </a:t>
            </a:r>
            <a:r>
              <a:rPr sz="1000" b="1" spc="-26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individu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aine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edback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m  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bleau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visuali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z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tion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677479" y="2992641"/>
            <a:ext cx="1765300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200"/>
              </a:lnSpc>
              <a:spcBef>
                <a:spcPts val="100"/>
              </a:spcBef>
            </a:pP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ar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prima</a:t>
            </a:r>
            <a:r>
              <a:rPr sz="10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40" dirty="0">
                <a:solidFill>
                  <a:srgbClr val="1ED75F"/>
                </a:solidFill>
                <a:latin typeface="Century Gothic"/>
                <a:cs typeface="Century Gothic"/>
              </a:rPr>
              <a:t>y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ocuse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on 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providing meaningful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eedback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60" dirty="0">
                <a:solidFill>
                  <a:srgbClr val="1ED75F"/>
                </a:solidFill>
                <a:latin typeface="Century Gothic"/>
                <a:cs typeface="Century Gothic"/>
              </a:rPr>
              <a:t>coache</a:t>
            </a:r>
            <a:r>
              <a:rPr sz="1000" b="1" spc="-50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ur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ent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ol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do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n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’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l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5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ﬁltering 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xpo</a:t>
            </a:r>
            <a:r>
              <a:rPr sz="1000" spc="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individuali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z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ed 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feedback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9199434" y="1633360"/>
            <a:ext cx="240029" cy="3341370"/>
            <a:chOff x="9199434" y="1633360"/>
            <a:chExt cx="240029" cy="3341370"/>
          </a:xfrm>
        </p:grpSpPr>
        <p:sp>
          <p:nvSpPr>
            <p:cNvPr id="13" name="object 13"/>
            <p:cNvSpPr/>
            <p:nvPr/>
          </p:nvSpPr>
          <p:spPr>
            <a:xfrm>
              <a:off x="9319284" y="1873061"/>
              <a:ext cx="0" cy="3101340"/>
            </a:xfrm>
            <a:custGeom>
              <a:avLst/>
              <a:gdLst/>
              <a:ahLst/>
              <a:cxnLst/>
              <a:rect l="l" t="t" r="r" b="b"/>
              <a:pathLst>
                <a:path h="3101340">
                  <a:moveTo>
                    <a:pt x="0" y="0"/>
                  </a:moveTo>
                  <a:lnTo>
                    <a:pt x="0" y="31010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9199422" y="3001301"/>
              <a:ext cx="240029" cy="1972945"/>
            </a:xfrm>
            <a:custGeom>
              <a:avLst/>
              <a:gdLst/>
              <a:ahLst/>
              <a:cxnLst/>
              <a:rect l="l" t="t" r="r" b="b"/>
              <a:pathLst>
                <a:path w="240029" h="1972945">
                  <a:moveTo>
                    <a:pt x="239699" y="1852930"/>
                  </a:moveTo>
                  <a:lnTo>
                    <a:pt x="119849" y="1733080"/>
                  </a:lnTo>
                  <a:lnTo>
                    <a:pt x="0" y="1852930"/>
                  </a:lnTo>
                  <a:lnTo>
                    <a:pt x="119849" y="1972779"/>
                  </a:lnTo>
                  <a:lnTo>
                    <a:pt x="239699" y="1852930"/>
                  </a:lnTo>
                  <a:close/>
                </a:path>
                <a:path w="240029" h="1972945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81924" y="2975149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98581" y="4729567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657425" y="4720970"/>
            <a:ext cx="1922145" cy="625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spen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consider</a:t>
            </a:r>
            <a:r>
              <a:rPr sz="1000" b="1" spc="-40" dirty="0">
                <a:solidFill>
                  <a:srgbClr val="1ED75F"/>
                </a:solidFill>
                <a:latin typeface="Century Gothic"/>
                <a:cs typeface="Century Gothic"/>
              </a:rPr>
              <a:t>abl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time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n 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hes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manu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cesse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which 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ca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ls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inc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eas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ris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k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5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er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r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645249" y="603139"/>
            <a:ext cx="291401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55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114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125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6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591" y="799"/>
            <a:ext cx="1927225" cy="259715"/>
          </a:xfrm>
          <a:custGeom>
            <a:avLst/>
            <a:gdLst/>
            <a:ahLst/>
            <a:cxnLst/>
            <a:rect l="l" t="t" r="r" b="b"/>
            <a:pathLst>
              <a:path w="1927225" h="259715">
                <a:moveTo>
                  <a:pt x="1926899" y="259499"/>
                </a:moveTo>
                <a:lnTo>
                  <a:pt x="0" y="259499"/>
                </a:lnTo>
                <a:lnTo>
                  <a:pt x="0" y="0"/>
                </a:lnTo>
                <a:lnTo>
                  <a:pt x="1926899" y="0"/>
                </a:lnTo>
                <a:lnTo>
                  <a:pt x="1926899" y="259499"/>
                </a:lnTo>
                <a:close/>
              </a:path>
            </a:pathLst>
          </a:custGeom>
          <a:solidFill>
            <a:srgbClr val="0CA78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5616" y="5963"/>
            <a:ext cx="87249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5" dirty="0">
                <a:latin typeface="Century Gothic"/>
                <a:cs typeface="Century Gothic"/>
              </a:rPr>
              <a:t>Reporting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17</a:t>
            </a:fld>
            <a:endParaRPr spc="-3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hlinkClick r:id="rId12" action="ppaction://hlinksldjump"/>
            <a:extLst>
              <a:ext uri="{FF2B5EF4-FFF2-40B4-BE49-F238E27FC236}">
                <a16:creationId xmlns:a16="http://schemas.microsoft.com/office/drawing/2014/main" id="{1C0E254F-2D58-4DFA-9F28-794ABA993C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66432" y="3937577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>
                <a:solidFill>
                  <a:srgbClr val="575757"/>
                </a:solidFill>
                <a:latin typeface="Trebuchet MS"/>
              </a:rPr>
              <a:t>Next Steps</a:t>
            </a:r>
          </a:p>
        </p:txBody>
      </p:sp>
      <p:sp>
        <p:nvSpPr>
          <p:cNvPr id="10" name="Rectangle 9">
            <a:hlinkClick r:id="rId13" action="ppaction://hlinksldjump"/>
            <a:extLst>
              <a:ext uri="{FF2B5EF4-FFF2-40B4-BE49-F238E27FC236}">
                <a16:creationId xmlns:a16="http://schemas.microsoft.com/office/drawing/2014/main" id="{A469C678-958A-4BB4-B2BA-A178CEB14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3502274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Outcomes: L&amp;D Coordinators</a:t>
            </a:r>
          </a:p>
        </p:txBody>
      </p:sp>
      <p:sp>
        <p:nvSpPr>
          <p:cNvPr id="9" name="Rectangle 8">
            <a:hlinkClick r:id="rId14" action="ppaction://hlinksldjump"/>
            <a:extLst>
              <a:ext uri="{FF2B5EF4-FFF2-40B4-BE49-F238E27FC236}">
                <a16:creationId xmlns:a16="http://schemas.microsoft.com/office/drawing/2014/main" id="{F0596E3D-9250-412E-94CE-13F0ADACD7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6432" y="3066971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Outcomes: Learner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483167A-2E60-46E6-836E-077C0D0FBAE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818431" y="3977400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87563-3445-467B-A7A8-69A009A674AE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4818431" y="3977400"/>
            <a:ext cx="225512" cy="225097"/>
          </a:xfrm>
          <a:prstGeom prst="rect">
            <a:avLst/>
          </a:prstGeom>
        </p:spPr>
      </p:pic>
      <p:sp>
        <p:nvSpPr>
          <p:cNvPr id="5" name="Rectangle 4">
            <a:hlinkClick r:id="rId16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Overview: </a:t>
            </a:r>
            <a:r>
              <a:rPr lang="en-US" sz="1846" err="1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VoC</a:t>
            </a:r>
            <a:r>
              <a:rPr lang="en-US" sz="1846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 Context, Research Objectives, &amp; Methodolog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 vert="horz"/>
          <a:lstStyle/>
          <a:p>
            <a:r>
              <a:rPr lang="en-US" err="1"/>
              <a:t>VoC</a:t>
            </a:r>
            <a:r>
              <a:rPr lang="en-US"/>
              <a:t> Readout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hlinkClick r:id="rId12" action="ppaction://hlinksldjump"/>
            <a:extLst>
              <a:ext uri="{FF2B5EF4-FFF2-40B4-BE49-F238E27FC236}">
                <a16:creationId xmlns:a16="http://schemas.microsoft.com/office/drawing/2014/main" id="{306728F8-845B-4B71-9255-0A5B5739CCC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6432" y="4372880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>
                <a:solidFill>
                  <a:srgbClr val="575757">
                    <a:lumMod val="60000"/>
                    <a:lumOff val="40000"/>
                  </a:srgbClr>
                </a:solidFill>
                <a:latin typeface="Trebuchet MS"/>
              </a:rPr>
              <a:t>Appendi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381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ADCB34-72B5-5D41-A9F0-5339AA3902E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46" b="588"/>
          <a:stretch/>
        </p:blipFill>
        <p:spPr>
          <a:xfrm>
            <a:off x="2984" y="0"/>
            <a:ext cx="12192000" cy="6858001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81621097-65D4-EA4E-AB5F-2D8D17CDB4FC}"/>
              </a:ext>
            </a:extLst>
          </p:cNvPr>
          <p:cNvGrpSpPr/>
          <p:nvPr/>
        </p:nvGrpSpPr>
        <p:grpSpPr>
          <a:xfrm>
            <a:off x="2020425" y="2877159"/>
            <a:ext cx="3509937" cy="169039"/>
            <a:chOff x="2969750" y="3429694"/>
            <a:chExt cx="3509937" cy="169039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F5E5876-31D7-6846-8CD1-47B1F802834C}"/>
                </a:ext>
              </a:extLst>
            </p:cNvPr>
            <p:cNvCxnSpPr>
              <a:cxnSpLocks/>
            </p:cNvCxnSpPr>
            <p:nvPr/>
          </p:nvCxnSpPr>
          <p:spPr>
            <a:xfrm>
              <a:off x="2969750" y="3514213"/>
              <a:ext cx="3509937" cy="0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3D946A36-1C64-9F4C-9870-63F790DAE791}"/>
                </a:ext>
              </a:extLst>
            </p:cNvPr>
            <p:cNvSpPr/>
            <p:nvPr/>
          </p:nvSpPr>
          <p:spPr>
            <a:xfrm>
              <a:off x="5089332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C1A1D5-B660-F248-89F4-E02679B16DAF}"/>
              </a:ext>
            </a:extLst>
          </p:cNvPr>
          <p:cNvGrpSpPr/>
          <p:nvPr/>
        </p:nvGrpSpPr>
        <p:grpSpPr>
          <a:xfrm>
            <a:off x="287710" y="2877159"/>
            <a:ext cx="2072122" cy="169039"/>
            <a:chOff x="916360" y="3429694"/>
            <a:chExt cx="2072122" cy="16903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C59B25F-64BC-444E-BDC3-E1B0EF7D30D3}"/>
                </a:ext>
              </a:extLst>
            </p:cNvPr>
            <p:cNvCxnSpPr>
              <a:cxnSpLocks/>
            </p:cNvCxnSpPr>
            <p:nvPr/>
          </p:nvCxnSpPr>
          <p:spPr>
            <a:xfrm>
              <a:off x="916360" y="3514213"/>
              <a:ext cx="1903083" cy="0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A8D8D47-71C1-6A48-8ED0-DA0AC2A150E8}"/>
                </a:ext>
              </a:extLst>
            </p:cNvPr>
            <p:cNvSpPr/>
            <p:nvPr/>
          </p:nvSpPr>
          <p:spPr>
            <a:xfrm>
              <a:off x="2819443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47897"/>
          </a:xfrm>
        </p:spPr>
        <p:txBody>
          <a:bodyPr vert="horz"/>
          <a:lstStyle/>
          <a:p>
            <a:r>
              <a:rPr lang="en-US" err="1">
                <a:solidFill>
                  <a:schemeClr val="accent3"/>
                </a:solidFill>
              </a:rPr>
              <a:t>L&amp;D</a:t>
            </a:r>
            <a:r>
              <a:rPr lang="en-US">
                <a:solidFill>
                  <a:schemeClr val="accent3"/>
                </a:solidFill>
              </a:rPr>
              <a:t> Milestones| </a:t>
            </a:r>
            <a:r>
              <a:rPr lang="en-US">
                <a:solidFill>
                  <a:srgbClr val="FFFFFF"/>
                </a:solidFill>
              </a:rPr>
              <a:t>Our path to 2022 digital priorities</a:t>
            </a:r>
            <a:br>
              <a:rPr lang="en-US">
                <a:solidFill>
                  <a:srgbClr val="FFFFFF"/>
                </a:solidFill>
              </a:rPr>
            </a:br>
            <a:endParaRPr lang="en-US" sz="2000">
              <a:solidFill>
                <a:srgbClr val="D4DF3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595832" y="2007369"/>
            <a:ext cx="1393702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Big Room Planning (</a:t>
            </a:r>
            <a:r>
              <a:rPr lang="en-US" err="1">
                <a:solidFill>
                  <a:srgbClr val="D4DF33"/>
                </a:solidFill>
                <a:latin typeface="+mj-lt"/>
                <a:cs typeface="Arial" pitchFamily="34" charset="0"/>
              </a:rPr>
              <a:t>BRP</a:t>
            </a:r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2592" y="1989190"/>
            <a:ext cx="1372780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Qualitative Insights </a:t>
            </a:r>
          </a:p>
          <a:p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Read-ou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863060-BCB4-6141-85F2-316EB39EE938}"/>
              </a:ext>
            </a:extLst>
          </p:cNvPr>
          <p:cNvSpPr/>
          <p:nvPr/>
        </p:nvSpPr>
        <p:spPr>
          <a:xfrm>
            <a:off x="329967" y="3644738"/>
            <a:ext cx="1412768" cy="2792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MERGE* presents findings from customer research to L&amp;D leadership &amp; stakeholder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3D80153-F98C-6A49-999E-E8BA9CBBA814}"/>
              </a:ext>
            </a:extLst>
          </p:cNvPr>
          <p:cNvCxnSpPr>
            <a:cxnSpLocks/>
          </p:cNvCxnSpPr>
          <p:nvPr/>
        </p:nvCxnSpPr>
        <p:spPr>
          <a:xfrm>
            <a:off x="10798298" y="2961678"/>
            <a:ext cx="13937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5CDD38C-0A6C-C646-AB24-AD662F087D7E}"/>
              </a:ext>
            </a:extLst>
          </p:cNvPr>
          <p:cNvGrpSpPr/>
          <p:nvPr/>
        </p:nvGrpSpPr>
        <p:grpSpPr>
          <a:xfrm>
            <a:off x="1960" y="2877159"/>
            <a:ext cx="765018" cy="169039"/>
            <a:chOff x="1960" y="3429694"/>
            <a:chExt cx="765018" cy="16903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3E28B85-76F4-934F-A08B-DA3968C642DB}"/>
                </a:ext>
              </a:extLst>
            </p:cNvPr>
            <p:cNvCxnSpPr>
              <a:cxnSpLocks/>
            </p:cNvCxnSpPr>
            <p:nvPr/>
          </p:nvCxnSpPr>
          <p:spPr>
            <a:xfrm>
              <a:off x="1960" y="3514213"/>
              <a:ext cx="765018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18C20A8-2BF8-914C-A5CC-950D54A7819A}"/>
                </a:ext>
              </a:extLst>
            </p:cNvPr>
            <p:cNvSpPr/>
            <p:nvPr/>
          </p:nvSpPr>
          <p:spPr>
            <a:xfrm>
              <a:off x="336161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05B8BB3-B1AC-CC42-9F67-C81BF638035C}"/>
              </a:ext>
            </a:extLst>
          </p:cNvPr>
          <p:cNvGrpSpPr/>
          <p:nvPr/>
        </p:nvGrpSpPr>
        <p:grpSpPr>
          <a:xfrm>
            <a:off x="8295730" y="2877159"/>
            <a:ext cx="2473545" cy="169039"/>
            <a:chOff x="8295730" y="3429694"/>
            <a:chExt cx="2473545" cy="169039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CBA0939-AF57-1649-8484-404AB9B90E1C}"/>
                </a:ext>
              </a:extLst>
            </p:cNvPr>
            <p:cNvCxnSpPr>
              <a:cxnSpLocks/>
            </p:cNvCxnSpPr>
            <p:nvPr/>
          </p:nvCxnSpPr>
          <p:spPr>
            <a:xfrm>
              <a:off x="8295730" y="3514213"/>
              <a:ext cx="2339674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5C7D7E5F-5C39-B140-B667-7E90A39EEE52}"/>
                </a:ext>
              </a:extLst>
            </p:cNvPr>
            <p:cNvSpPr/>
            <p:nvPr/>
          </p:nvSpPr>
          <p:spPr>
            <a:xfrm>
              <a:off x="10600236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45CFDD4-7452-4790-8D6E-B7A97636CF9B}"/>
              </a:ext>
            </a:extLst>
          </p:cNvPr>
          <p:cNvSpPr txBox="1"/>
          <p:nvPr/>
        </p:nvSpPr>
        <p:spPr>
          <a:xfrm>
            <a:off x="10595832" y="3052660"/>
            <a:ext cx="606101" cy="30644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Nov 18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276A60-9323-4B33-A0BE-100DDC294CEE}"/>
              </a:ext>
            </a:extLst>
          </p:cNvPr>
          <p:cNvSpPr txBox="1"/>
          <p:nvPr/>
        </p:nvSpPr>
        <p:spPr>
          <a:xfrm>
            <a:off x="347073" y="3071433"/>
            <a:ext cx="673261" cy="2769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en-US">
                <a:solidFill>
                  <a:srgbClr val="D4DF33"/>
                </a:solidFill>
                <a:latin typeface="+mj-lt"/>
                <a:cs typeface="Arial" pitchFamily="34" charset="0"/>
              </a:rPr>
              <a:t>Oct 1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CE4BA4-69A8-4155-AF0C-674E96603329}"/>
              </a:ext>
            </a:extLst>
          </p:cNvPr>
          <p:cNvGrpSpPr/>
          <p:nvPr/>
        </p:nvGrpSpPr>
        <p:grpSpPr>
          <a:xfrm>
            <a:off x="2166478" y="2007369"/>
            <a:ext cx="1660850" cy="4441483"/>
            <a:chOff x="6202841" y="2007369"/>
            <a:chExt cx="1660850" cy="444148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F8B59D1-3D58-47D7-85B2-9CDA8179601C}"/>
                </a:ext>
              </a:extLst>
            </p:cNvPr>
            <p:cNvSpPr txBox="1"/>
            <p:nvPr/>
          </p:nvSpPr>
          <p:spPr>
            <a:xfrm>
              <a:off x="6202841" y="3054976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15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3EBBA70-BACF-4982-A5D2-C075E9A9562B}"/>
                </a:ext>
              </a:extLst>
            </p:cNvPr>
            <p:cNvSpPr txBox="1"/>
            <p:nvPr/>
          </p:nvSpPr>
          <p:spPr>
            <a:xfrm>
              <a:off x="6230585" y="2007369"/>
              <a:ext cx="1454228" cy="8276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err="1">
                  <a:solidFill>
                    <a:srgbClr val="D4DF33"/>
                  </a:solidFill>
                  <a:latin typeface="+mj-lt"/>
                  <a:cs typeface="Arial" pitchFamily="34" charset="0"/>
                </a:rPr>
                <a:t>ABR</a:t>
              </a:r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 Pre-read Du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D2712B1-8C15-4865-8F17-47DF5595BA16}"/>
                </a:ext>
              </a:extLst>
            </p:cNvPr>
            <p:cNvSpPr/>
            <p:nvPr/>
          </p:nvSpPr>
          <p:spPr>
            <a:xfrm>
              <a:off x="6229808" y="3656732"/>
              <a:ext cx="1633883" cy="279212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GB" sz="1400">
                  <a:solidFill>
                    <a:schemeClr val="bg1"/>
                  </a:solidFill>
                  <a:latin typeface="Trebuchet MS" panose="020B0603020202020204" pitchFamily="34" charset="0"/>
                </a:rPr>
                <a:t>Focus is on vision &amp; themes for the squads &amp; the tribe as a whole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GB" sz="140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GB" sz="1400">
                  <a:solidFill>
                    <a:schemeClr val="bg1"/>
                  </a:solidFill>
                  <a:latin typeface="Trebuchet MS" panose="020B0603020202020204" pitchFamily="34" charset="0"/>
                </a:rPr>
                <a:t>E</a:t>
              </a:r>
              <a:r>
                <a:rPr lang="en-GB" sz="1400" b="0" i="0" u="none" kern="1200" spc="0">
                  <a:solidFill>
                    <a:schemeClr val="bg1"/>
                  </a:solidFill>
                  <a:latin typeface="Trebuchet MS" panose="020B0603020202020204" pitchFamily="34" charset="0"/>
                </a:rPr>
                <a:t>arly </a:t>
              </a:r>
              <a:r>
                <a:rPr lang="en-GB" sz="1400" b="0" i="0" u="none" kern="1200" spc="0" err="1">
                  <a:solidFill>
                    <a:schemeClr val="bg1"/>
                  </a:solidFill>
                  <a:latin typeface="Trebuchet MS" panose="020B0603020202020204" pitchFamily="34" charset="0"/>
                </a:rPr>
                <a:t>VoC</a:t>
              </a:r>
              <a:r>
                <a:rPr lang="en-GB" sz="1400" b="0" i="0" u="none" kern="1200" spc="0">
                  <a:solidFill>
                    <a:schemeClr val="bg1"/>
                  </a:solidFill>
                  <a:latin typeface="Trebuchet MS" panose="020B0603020202020204" pitchFamily="34" charset="0"/>
                </a:rPr>
                <a:t> themes will help guide major focus areas for L&amp;D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GB" sz="140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79DB933-DBE1-442F-AB74-B5D5FC622DFC}"/>
              </a:ext>
            </a:extLst>
          </p:cNvPr>
          <p:cNvGrpSpPr/>
          <p:nvPr/>
        </p:nvGrpSpPr>
        <p:grpSpPr>
          <a:xfrm>
            <a:off x="4144617" y="2007369"/>
            <a:ext cx="1903082" cy="4431524"/>
            <a:chOff x="2252203" y="2007369"/>
            <a:chExt cx="1903082" cy="4431524"/>
          </a:xfrm>
        </p:grpSpPr>
        <p:sp>
          <p:nvSpPr>
            <p:cNvPr id="9" name="TextBox 8"/>
            <p:cNvSpPr txBox="1"/>
            <p:nvPr/>
          </p:nvSpPr>
          <p:spPr>
            <a:xfrm>
              <a:off x="2252203" y="2007369"/>
              <a:ext cx="1562057" cy="3475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err="1">
                  <a:solidFill>
                    <a:srgbClr val="D4DF33"/>
                  </a:solidFill>
                  <a:latin typeface="+mj-lt"/>
                  <a:cs typeface="Arial" pitchFamily="34" charset="0"/>
                </a:rPr>
                <a:t>ABR</a:t>
              </a:r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 Market with IC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ACF3F85-1119-A64A-AD6D-3F4BE7E103D9}"/>
                </a:ext>
              </a:extLst>
            </p:cNvPr>
            <p:cNvSpPr/>
            <p:nvPr/>
          </p:nvSpPr>
          <p:spPr>
            <a:xfrm>
              <a:off x="2252203" y="3646773"/>
              <a:ext cx="1755643" cy="279212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90-min meeting to discuss HR Tribe high-level direction for all squads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L&amp;D messaging will feature some "moonshots" …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…as well as more evolutionary </a:t>
              </a:r>
              <a:r>
                <a:rPr lang="en-US" sz="1400" err="1">
                  <a:solidFill>
                    <a:srgbClr val="FFFFFF"/>
                  </a:solidFill>
                  <a:cs typeface="Arial" pitchFamily="34" charset="0"/>
                </a:rPr>
                <a:t>inits</a:t>
              </a: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.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Will not discuss at the initiative level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E2E5E94-1AC6-4499-9D3A-4A4E2C7C9900}"/>
                </a:ext>
              </a:extLst>
            </p:cNvPr>
            <p:cNvSpPr txBox="1"/>
            <p:nvPr/>
          </p:nvSpPr>
          <p:spPr>
            <a:xfrm>
              <a:off x="2252203" y="3052660"/>
              <a:ext cx="1903082" cy="33418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25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5B50D-AADF-1844-A87F-3DA058D42AE6}"/>
              </a:ext>
            </a:extLst>
          </p:cNvPr>
          <p:cNvSpPr/>
          <p:nvPr/>
        </p:nvSpPr>
        <p:spPr>
          <a:xfrm>
            <a:off x="6209158" y="3646773"/>
            <a:ext cx="1893679" cy="2792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Workshop potential solutions &amp; quantify impact (via survey)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Build one-pagers for priority initiatives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Gather priorities from L&amp;D Learning Council (Oct 20)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Vote on priority initiatives &amp; clarity resourcing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1FB7D7C-1C4C-4FD8-B5FE-3D341729CEDF}"/>
              </a:ext>
            </a:extLst>
          </p:cNvPr>
          <p:cNvGrpSpPr>
            <a:grpSpLocks noChangeAspect="1"/>
          </p:cNvGrpSpPr>
          <p:nvPr/>
        </p:nvGrpSpPr>
        <p:grpSpPr>
          <a:xfrm>
            <a:off x="352468" y="1554197"/>
            <a:ext cx="306910" cy="306910"/>
            <a:chOff x="5961063" y="3294063"/>
            <a:chExt cx="269875" cy="269875"/>
          </a:xfrm>
        </p:grpSpPr>
        <p:sp>
          <p:nvSpPr>
            <p:cNvPr id="40" name="Oval 14">
              <a:extLst>
                <a:ext uri="{FF2B5EF4-FFF2-40B4-BE49-F238E27FC236}">
                  <a16:creationId xmlns:a16="http://schemas.microsoft.com/office/drawing/2014/main" id="{1401974D-85D7-4A69-9129-6BD4DB2938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77D650F-979D-4625-802A-337A69564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2093A6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865D384-22C5-435E-8BCD-B32F09A7A520}"/>
              </a:ext>
            </a:extLst>
          </p:cNvPr>
          <p:cNvSpPr txBox="1"/>
          <p:nvPr/>
        </p:nvSpPr>
        <p:spPr>
          <a:xfrm>
            <a:off x="679035" y="1554197"/>
            <a:ext cx="1254733" cy="3054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Toda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61A8D05-9BF7-47D5-81DD-8371A3140832}"/>
              </a:ext>
            </a:extLst>
          </p:cNvPr>
          <p:cNvGrpSpPr/>
          <p:nvPr/>
        </p:nvGrpSpPr>
        <p:grpSpPr>
          <a:xfrm>
            <a:off x="6198141" y="1989190"/>
            <a:ext cx="6031574" cy="4441482"/>
            <a:chOff x="1982078" y="2007370"/>
            <a:chExt cx="6031574" cy="4441482"/>
          </a:xfrm>
        </p:grpSpPr>
        <p:sp>
          <p:nvSpPr>
            <p:cNvPr id="10" name="TextBox 9"/>
            <p:cNvSpPr txBox="1"/>
            <p:nvPr/>
          </p:nvSpPr>
          <p:spPr>
            <a:xfrm>
              <a:off x="1982078" y="2025549"/>
              <a:ext cx="147265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Solutioning Workshop &amp; Quant Surve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02BF18-6CD6-6E46-9F84-8ABB54EFD06A}"/>
                </a:ext>
              </a:extLst>
            </p:cNvPr>
            <p:cNvSpPr/>
            <p:nvPr/>
          </p:nvSpPr>
          <p:spPr>
            <a:xfrm>
              <a:off x="4111757" y="3656724"/>
              <a:ext cx="1755643" cy="2792112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L&amp;D Leadership to help prioritize potential initiatives from </a:t>
              </a:r>
              <a:r>
                <a:rPr lang="en-US" sz="1400" err="1">
                  <a:solidFill>
                    <a:srgbClr val="FFFFFF"/>
                  </a:solidFill>
                  <a:cs typeface="Arial" pitchFamily="34" charset="0"/>
                </a:rPr>
                <a:t>VoC</a:t>
              </a: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 outcomes (solutioning workshop, quant survey, qualitative insights, etc.)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3EAF8CB-C54A-4525-9477-DAA32BF5A2BA}"/>
                </a:ext>
              </a:extLst>
            </p:cNvPr>
            <p:cNvSpPr txBox="1"/>
            <p:nvPr/>
          </p:nvSpPr>
          <p:spPr>
            <a:xfrm>
              <a:off x="1991158" y="3067018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18 – Nov 1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5E6E724-52A3-4461-83A3-66A9B988E890}"/>
                </a:ext>
              </a:extLst>
            </p:cNvPr>
            <p:cNvSpPr/>
            <p:nvPr/>
          </p:nvSpPr>
          <p:spPr>
            <a:xfrm>
              <a:off x="6379769" y="3656732"/>
              <a:ext cx="1633883" cy="279212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L&amp;D squads to build initiative-level plan for 2022 based on results from </a:t>
              </a:r>
              <a:r>
                <a:rPr lang="en-US" sz="1400" err="1">
                  <a:solidFill>
                    <a:srgbClr val="FFFFFF"/>
                  </a:solidFill>
                  <a:cs typeface="Arial" pitchFamily="34" charset="0"/>
                </a:rPr>
                <a:t>VoC</a:t>
              </a:r>
              <a:r>
                <a:rPr lang="en-US" sz="1400">
                  <a:solidFill>
                    <a:srgbClr val="FFFFFF"/>
                  </a:solidFill>
                  <a:cs typeface="Arial" pitchFamily="34" charset="0"/>
                </a:rPr>
                <a:t> work (&amp; other priorities, e.g. technical IT  requirements)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E0AD833-E64B-4EA7-BEB5-0F6BA71C1FA4}"/>
                </a:ext>
              </a:extLst>
            </p:cNvPr>
            <p:cNvSpPr txBox="1"/>
            <p:nvPr/>
          </p:nvSpPr>
          <p:spPr>
            <a:xfrm>
              <a:off x="4079667" y="3088731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Nov 1 – Nov 15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B37C07C-E214-4E65-A68B-A136F94E469A}"/>
                </a:ext>
              </a:extLst>
            </p:cNvPr>
            <p:cNvSpPr txBox="1"/>
            <p:nvPr/>
          </p:nvSpPr>
          <p:spPr>
            <a:xfrm>
              <a:off x="4079667" y="2007370"/>
              <a:ext cx="178773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Prioritization</a:t>
              </a:r>
            </a:p>
            <a:p>
              <a:r>
                <a:rPr lang="en-US">
                  <a:solidFill>
                    <a:srgbClr val="D4DF33"/>
                  </a:solidFill>
                  <a:latin typeface="+mj-lt"/>
                  <a:cs typeface="Arial" pitchFamily="34" charset="0"/>
                </a:rPr>
                <a:t>Workshop with L&amp;D Leadership 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6BB083F-2400-774F-9B5B-640282DC9DDB}"/>
              </a:ext>
            </a:extLst>
          </p:cNvPr>
          <p:cNvGrpSpPr/>
          <p:nvPr/>
        </p:nvGrpSpPr>
        <p:grpSpPr>
          <a:xfrm>
            <a:off x="5337711" y="2877159"/>
            <a:ext cx="3135156" cy="169039"/>
            <a:chOff x="5312208" y="3458374"/>
            <a:chExt cx="3135156" cy="169039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C6F986D-AE28-DD47-BCF2-EC64C4FD8330}"/>
                </a:ext>
              </a:extLst>
            </p:cNvPr>
            <p:cNvCxnSpPr>
              <a:cxnSpLocks/>
              <a:endCxn id="62" idx="2"/>
            </p:cNvCxnSpPr>
            <p:nvPr/>
          </p:nvCxnSpPr>
          <p:spPr>
            <a:xfrm>
              <a:off x="5312208" y="3542893"/>
              <a:ext cx="2966117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57E244E-5377-1649-A12D-D037DC6C0B36}"/>
                </a:ext>
              </a:extLst>
            </p:cNvPr>
            <p:cNvSpPr/>
            <p:nvPr/>
          </p:nvSpPr>
          <p:spPr>
            <a:xfrm>
              <a:off x="8278325" y="345837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C5724E65-29FC-4164-A830-A938C0A4BD20}"/>
                </a:ext>
              </a:extLst>
            </p:cNvPr>
            <p:cNvSpPr/>
            <p:nvPr/>
          </p:nvSpPr>
          <p:spPr>
            <a:xfrm>
              <a:off x="6181718" y="345837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err="1">
                <a:solidFill>
                  <a:srgbClr val="FFFFFF"/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A2A8AEEB-A392-48D7-A5B4-996B5D97463B}"/>
              </a:ext>
            </a:extLst>
          </p:cNvPr>
          <p:cNvSpPr txBox="1"/>
          <p:nvPr/>
        </p:nvSpPr>
        <p:spPr>
          <a:xfrm>
            <a:off x="74042" y="6478310"/>
            <a:ext cx="4708973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>
                <a:solidFill>
                  <a:srgbClr val="FFFFFF"/>
                </a:solidFill>
              </a:rPr>
              <a:t>*MERGE is our external partner conducting customers' interview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14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hlinkClick r:id="rId11" action="ppaction://hlinksldjump"/>
            <a:extLst>
              <a:ext uri="{FF2B5EF4-FFF2-40B4-BE49-F238E27FC236}">
                <a16:creationId xmlns:a16="http://schemas.microsoft.com/office/drawing/2014/main" id="{1C0E254F-2D58-4DFA-9F28-794ABA993C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66432" y="3937577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xt Step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pendix</a:t>
            </a:r>
          </a:p>
        </p:txBody>
      </p:sp>
      <p:sp>
        <p:nvSpPr>
          <p:cNvPr id="10" name="Rectangle 9">
            <a:hlinkClick r:id="rId12" action="ppaction://hlinksldjump"/>
            <a:extLst>
              <a:ext uri="{FF2B5EF4-FFF2-40B4-BE49-F238E27FC236}">
                <a16:creationId xmlns:a16="http://schemas.microsoft.com/office/drawing/2014/main" id="{A469C678-958A-4BB4-B2BA-A178CEB14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3502274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utcomes: L&amp;D Coordinators</a:t>
            </a:r>
          </a:p>
        </p:txBody>
      </p:sp>
      <p:sp>
        <p:nvSpPr>
          <p:cNvPr id="9" name="Rectangle 8">
            <a:hlinkClick r:id="rId13" action="ppaction://hlinksldjump"/>
            <a:extLst>
              <a:ext uri="{FF2B5EF4-FFF2-40B4-BE49-F238E27FC236}">
                <a16:creationId xmlns:a16="http://schemas.microsoft.com/office/drawing/2014/main" id="{F0596E3D-9250-412E-94CE-13F0ADACD7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6432" y="3066971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utcomes: Learner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483167A-2E60-46E6-836E-077C0D0FBAE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818431" y="2663497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87563-3445-467B-A7A8-69A009A674AE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818431" y="2663497"/>
            <a:ext cx="225512" cy="225097"/>
          </a:xfrm>
          <a:prstGeom prst="rect">
            <a:avLst/>
          </a:prstGeom>
        </p:spPr>
      </p:pic>
      <p:sp>
        <p:nvSpPr>
          <p:cNvPr id="5" name="Rectangle 4">
            <a:hlinkClick r:id="rId15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verview: </a:t>
            </a:r>
            <a:r>
              <a:rPr kumimoji="0" lang="en-US" sz="1846" b="0" i="0" u="none" strike="noStrike" kern="1200" cap="none" spc="0" normalizeH="0" baseline="0" noProof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oC</a:t>
            </a:r>
            <a:r>
              <a:rPr kumimoji="0" lang="en-US" sz="1846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Context, Research Objectives, &amp; Methodolog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 vert="horz"/>
          <a:lstStyle/>
          <a:p>
            <a:r>
              <a:rPr lang="en-US" err="1"/>
              <a:t>VoC</a:t>
            </a:r>
            <a:r>
              <a:rPr lang="en-US"/>
              <a:t> Readout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8744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11973560" cy="6638290"/>
            <a:chOff x="0" y="0"/>
            <a:chExt cx="11973560" cy="6638290"/>
          </a:xfrm>
        </p:grpSpPr>
        <p:sp>
          <p:nvSpPr>
            <p:cNvPr id="4" name="object 4"/>
            <p:cNvSpPr/>
            <p:nvPr/>
          </p:nvSpPr>
          <p:spPr>
            <a:xfrm>
              <a:off x="0" y="0"/>
              <a:ext cx="11973560" cy="6638290"/>
            </a:xfrm>
            <a:custGeom>
              <a:avLst/>
              <a:gdLst/>
              <a:ahLst/>
              <a:cxnLst/>
              <a:rect l="l" t="t" r="r" b="b"/>
              <a:pathLst>
                <a:path w="11973560" h="6638290">
                  <a:moveTo>
                    <a:pt x="11973000" y="6638099"/>
                  </a:moveTo>
                  <a:lnTo>
                    <a:pt x="0" y="6638099"/>
                  </a:lnTo>
                  <a:lnTo>
                    <a:pt x="0" y="0"/>
                  </a:lnTo>
                  <a:lnTo>
                    <a:pt x="11973000" y="0"/>
                  </a:lnTo>
                  <a:lnTo>
                    <a:pt x="11973000" y="6638099"/>
                  </a:lnTo>
                  <a:close/>
                </a:path>
              </a:pathLst>
            </a:custGeom>
            <a:solidFill>
              <a:srgbClr val="21272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14400" y="5401799"/>
              <a:ext cx="1371600" cy="356615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01700" y="2849268"/>
            <a:ext cx="4270375" cy="955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100" spc="325" dirty="0"/>
              <a:t>Thank</a:t>
            </a:r>
            <a:r>
              <a:rPr sz="6100" spc="-30" dirty="0"/>
              <a:t> </a:t>
            </a:r>
            <a:r>
              <a:rPr sz="6100" spc="-60" dirty="0"/>
              <a:t>you.</a:t>
            </a:r>
            <a:endParaRPr sz="61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799" y="0"/>
            <a:ext cx="11971655" cy="6637655"/>
          </a:xfrm>
          <a:custGeom>
            <a:avLst/>
            <a:gdLst/>
            <a:ahLst/>
            <a:cxnLst/>
            <a:rect l="l" t="t" r="r" b="b"/>
            <a:pathLst>
              <a:path w="11971655" h="6637655">
                <a:moveTo>
                  <a:pt x="11971199" y="6637499"/>
                </a:moveTo>
                <a:lnTo>
                  <a:pt x="0" y="6637499"/>
                </a:lnTo>
                <a:lnTo>
                  <a:pt x="0" y="0"/>
                </a:lnTo>
                <a:lnTo>
                  <a:pt x="11971199" y="0"/>
                </a:lnTo>
                <a:lnTo>
                  <a:pt x="11971199" y="66374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7425" y="2849322"/>
            <a:ext cx="3693795" cy="955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100" spc="-20" dirty="0"/>
              <a:t>Appendix</a:t>
            </a:r>
            <a:endParaRPr sz="610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18825" y="6387160"/>
            <a:ext cx="147320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30" dirty="0">
                <a:solidFill>
                  <a:srgbClr val="525A5A"/>
                </a:solidFill>
                <a:latin typeface="Verdana"/>
                <a:cs typeface="Verdana"/>
              </a:rPr>
              <a:t>21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937306" y="2550940"/>
            <a:ext cx="3058795" cy="2694940"/>
          </a:xfrm>
          <a:prstGeom prst="rect">
            <a:avLst/>
          </a:prstGeom>
        </p:spPr>
        <p:txBody>
          <a:bodyPr vert="horz" wrap="square" lIns="0" tIns="1327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45"/>
              </a:spcBef>
            </a:pPr>
            <a:r>
              <a:rPr sz="24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or</a:t>
            </a:r>
            <a:r>
              <a:rPr sz="24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4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Learners:</a:t>
            </a:r>
            <a:endParaRPr sz="2400">
              <a:latin typeface="Century Gothic"/>
              <a:cs typeface="Century Gothic"/>
            </a:endParaRPr>
          </a:p>
          <a:p>
            <a:pPr marL="660400" marR="470534" indent="-217170">
              <a:lnSpc>
                <a:spcPct val="100000"/>
              </a:lnSpc>
              <a:spcBef>
                <a:spcPts val="635"/>
              </a:spcBef>
              <a:buClr>
                <a:srgbClr val="1ED75F"/>
              </a:buClr>
              <a:buChar char="–"/>
              <a:tabLst>
                <a:tab pos="661035" algn="l"/>
              </a:tabLst>
            </a:pP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3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75" dirty="0">
                <a:solidFill>
                  <a:srgbClr val="575757"/>
                </a:solidFill>
                <a:latin typeface="Verdana"/>
                <a:cs typeface="Verdana"/>
              </a:rPr>
              <a:t>learner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75757"/>
                </a:solidFill>
                <a:latin typeface="Verdana"/>
                <a:cs typeface="Verdana"/>
              </a:rPr>
              <a:t>cont</a:t>
            </a:r>
            <a:r>
              <a:rPr sz="1600" spc="-90" dirty="0">
                <a:solidFill>
                  <a:srgbClr val="575757"/>
                </a:solidFill>
                <a:latin typeface="Verdana"/>
                <a:cs typeface="Verdana"/>
              </a:rPr>
              <a:t>e</a:t>
            </a:r>
            <a:r>
              <a:rPr sz="1600" spc="-130" dirty="0">
                <a:solidFill>
                  <a:srgbClr val="575757"/>
                </a:solidFill>
                <a:latin typeface="Verdana"/>
                <a:cs typeface="Verdana"/>
              </a:rPr>
              <a:t>xts:  </a:t>
            </a:r>
            <a:r>
              <a:rPr sz="1600" spc="-114" dirty="0">
                <a:solidFill>
                  <a:srgbClr val="575757"/>
                </a:solidFill>
                <a:latin typeface="Verdana"/>
                <a:cs typeface="Verdana"/>
              </a:rPr>
              <a:t>Ju</a:t>
            </a:r>
            <a:r>
              <a:rPr sz="1600" spc="-120" dirty="0">
                <a:solidFill>
                  <a:srgbClr val="575757"/>
                </a:solidFill>
                <a:latin typeface="Verdana"/>
                <a:cs typeface="Verdana"/>
              </a:rPr>
              <a:t>s</a:t>
            </a:r>
            <a:r>
              <a:rPr sz="1600" spc="-100" dirty="0">
                <a:solidFill>
                  <a:srgbClr val="575757"/>
                </a:solidFill>
                <a:latin typeface="Verdana"/>
                <a:cs typeface="Verdana"/>
              </a:rPr>
              <a:t>t</a:t>
            </a:r>
            <a:r>
              <a:rPr sz="1600" spc="-90" dirty="0">
                <a:solidFill>
                  <a:srgbClr val="575757"/>
                </a:solidFill>
                <a:latin typeface="Verdana"/>
                <a:cs typeface="Verdana"/>
              </a:rPr>
              <a:t>-in-time,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70" dirty="0">
                <a:solidFill>
                  <a:srgbClr val="575757"/>
                </a:solidFill>
                <a:latin typeface="Verdana"/>
                <a:cs typeface="Verdana"/>
              </a:rPr>
              <a:t>Leisu</a:t>
            </a:r>
            <a:r>
              <a:rPr sz="1600" spc="-75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600" spc="-130" dirty="0">
                <a:solidFill>
                  <a:srgbClr val="575757"/>
                </a:solidFill>
                <a:latin typeface="Verdana"/>
                <a:cs typeface="Verdana"/>
              </a:rPr>
              <a:t>e,  </a:t>
            </a:r>
            <a:r>
              <a:rPr sz="1600" spc="-45" dirty="0">
                <a:solidFill>
                  <a:srgbClr val="575757"/>
                </a:solidFill>
                <a:latin typeface="Verdana"/>
                <a:cs typeface="Verdana"/>
              </a:rPr>
              <a:t>Passive</a:t>
            </a:r>
            <a:endParaRPr sz="1600">
              <a:latin typeface="Verdana"/>
              <a:cs typeface="Verdana"/>
            </a:endParaRPr>
          </a:p>
          <a:p>
            <a:pPr marL="660400" marR="5080" indent="-217170">
              <a:lnSpc>
                <a:spcPct val="100000"/>
              </a:lnSpc>
              <a:spcBef>
                <a:spcPts val="600"/>
              </a:spcBef>
              <a:buClr>
                <a:srgbClr val="1ED75F"/>
              </a:buClr>
              <a:buChar char="–"/>
              <a:tabLst>
                <a:tab pos="661035" algn="l"/>
              </a:tabLst>
            </a:pPr>
            <a:r>
              <a:rPr sz="1600" spc="-80" dirty="0">
                <a:solidFill>
                  <a:srgbClr val="575757"/>
                </a:solidFill>
                <a:latin typeface="Verdana"/>
                <a:cs typeface="Verdana"/>
              </a:rPr>
              <a:t>60-minute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40" dirty="0">
                <a:solidFill>
                  <a:srgbClr val="575757"/>
                </a:solidFill>
                <a:latin typeface="Verdana"/>
                <a:cs typeface="Verdana"/>
              </a:rPr>
              <a:t>goal</a:t>
            </a:r>
            <a:r>
              <a:rPr sz="1600" spc="-15" dirty="0">
                <a:solidFill>
                  <a:srgbClr val="575757"/>
                </a:solidFill>
                <a:latin typeface="Verdana"/>
                <a:cs typeface="Verdana"/>
              </a:rPr>
              <a:t>-</a:t>
            </a:r>
            <a:r>
              <a:rPr sz="1600" spc="-70" dirty="0">
                <a:solidFill>
                  <a:srgbClr val="575757"/>
                </a:solidFill>
                <a:latin typeface="Verdana"/>
                <a:cs typeface="Verdana"/>
              </a:rPr>
              <a:t>oriented  </a:t>
            </a: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task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70" dirty="0">
                <a:solidFill>
                  <a:srgbClr val="575757"/>
                </a:solidFill>
                <a:latin typeface="Verdana"/>
                <a:cs typeface="Verdana"/>
              </a:rPr>
              <a:t>obse</a:t>
            </a:r>
            <a:r>
              <a:rPr sz="1600" spc="-5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600" spc="-110" dirty="0">
                <a:solidFill>
                  <a:srgbClr val="575757"/>
                </a:solidFill>
                <a:latin typeface="Verdana"/>
                <a:cs typeface="Verdana"/>
              </a:rPr>
              <a:t>v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ations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75757"/>
                </a:solidFill>
                <a:latin typeface="Verdana"/>
                <a:cs typeface="Verdana"/>
              </a:rPr>
              <a:t>a</a:t>
            </a: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round  "ﬁnding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40" dirty="0">
                <a:solidFill>
                  <a:srgbClr val="575757"/>
                </a:solidFill>
                <a:latin typeface="Verdana"/>
                <a:cs typeface="Verdana"/>
              </a:rPr>
              <a:t>and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using"  </a:t>
            </a:r>
            <a:r>
              <a:rPr sz="1600" spc="-65" dirty="0">
                <a:solidFill>
                  <a:srgbClr val="575757"/>
                </a:solidFill>
                <a:latin typeface="Verdana"/>
                <a:cs typeface="Verdana"/>
              </a:rPr>
              <a:t>learning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70" dirty="0">
                <a:solidFill>
                  <a:srgbClr val="575757"/>
                </a:solidFill>
                <a:latin typeface="Verdana"/>
                <a:cs typeface="Verdana"/>
              </a:rPr>
              <a:t>in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each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75757"/>
                </a:solidFill>
                <a:latin typeface="Verdana"/>
                <a:cs typeface="Verdana"/>
              </a:rPr>
              <a:t>cont</a:t>
            </a:r>
            <a:r>
              <a:rPr sz="1600" spc="-90" dirty="0">
                <a:solidFill>
                  <a:srgbClr val="575757"/>
                </a:solidFill>
                <a:latin typeface="Verdana"/>
                <a:cs typeface="Verdana"/>
              </a:rPr>
              <a:t>e</a:t>
            </a:r>
            <a:r>
              <a:rPr sz="1600" spc="-85" dirty="0">
                <a:solidFill>
                  <a:srgbClr val="575757"/>
                </a:solidFill>
                <a:latin typeface="Verdana"/>
                <a:cs typeface="Verdana"/>
              </a:rPr>
              <a:t>xt</a:t>
            </a:r>
            <a:endParaRPr sz="1600">
              <a:latin typeface="Verdana"/>
              <a:cs typeface="Verdana"/>
            </a:endParaRPr>
          </a:p>
          <a:p>
            <a:pPr marL="660400" indent="-217804">
              <a:lnSpc>
                <a:spcPct val="100000"/>
              </a:lnSpc>
              <a:spcBef>
                <a:spcPts val="600"/>
              </a:spcBef>
              <a:buClr>
                <a:srgbClr val="1ED75F"/>
              </a:buClr>
              <a:buChar char="–"/>
              <a:tabLst>
                <a:tab pos="661035" algn="l"/>
              </a:tabLst>
            </a:pP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9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pa</a:t>
            </a:r>
            <a:r>
              <a:rPr sz="1600" spc="20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ticipants</a:t>
            </a:r>
            <a:endParaRPr sz="1600">
              <a:latin typeface="Verdana"/>
              <a:cs typeface="Verdan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7300" y="1639761"/>
            <a:ext cx="287845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000" b="1" spc="-45" dirty="0">
                <a:solidFill>
                  <a:srgbClr val="212721"/>
                </a:solidFill>
                <a:latin typeface="Century Gothic"/>
                <a:cs typeface="Century Gothic"/>
              </a:rPr>
              <a:t>Research</a:t>
            </a:r>
            <a:r>
              <a:rPr sz="3000" b="1" spc="-80" dirty="0">
                <a:solidFill>
                  <a:srgbClr val="212721"/>
                </a:solidFill>
                <a:latin typeface="Century Gothic"/>
                <a:cs typeface="Century Gothic"/>
              </a:rPr>
              <a:t> </a:t>
            </a:r>
            <a:r>
              <a:rPr sz="3000" b="1" spc="-40" dirty="0">
                <a:solidFill>
                  <a:srgbClr val="212721"/>
                </a:solidFill>
                <a:latin typeface="Century Gothic"/>
                <a:cs typeface="Century Gothic"/>
              </a:rPr>
              <a:t>focus:</a:t>
            </a:r>
            <a:endParaRPr sz="3000">
              <a:latin typeface="Century Gothic"/>
              <a:cs typeface="Century Gothic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17300" y="558608"/>
            <a:ext cx="10798175" cy="4978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100" spc="95" dirty="0">
                <a:solidFill>
                  <a:srgbClr val="1ED75F"/>
                </a:solidFill>
              </a:rPr>
              <a:t>Our</a:t>
            </a:r>
            <a:r>
              <a:rPr sz="3100" spc="35" dirty="0">
                <a:solidFill>
                  <a:srgbClr val="1ED75F"/>
                </a:solidFill>
              </a:rPr>
              <a:t> </a:t>
            </a:r>
            <a:r>
              <a:rPr sz="3100" spc="-20" dirty="0">
                <a:solidFill>
                  <a:srgbClr val="1ED75F"/>
                </a:solidFill>
              </a:rPr>
              <a:t>Approach</a:t>
            </a:r>
            <a:r>
              <a:rPr sz="3100" spc="35" dirty="0">
                <a:solidFill>
                  <a:srgbClr val="1ED75F"/>
                </a:solidFill>
              </a:rPr>
              <a:t> </a:t>
            </a:r>
            <a:r>
              <a:rPr sz="3100" spc="-915" dirty="0">
                <a:solidFill>
                  <a:srgbClr val="1ED75F"/>
                </a:solidFill>
              </a:rPr>
              <a:t>|</a:t>
            </a:r>
            <a:r>
              <a:rPr sz="3100" spc="30" dirty="0">
                <a:solidFill>
                  <a:srgbClr val="1ED75F"/>
                </a:solidFill>
              </a:rPr>
              <a:t> </a:t>
            </a:r>
            <a:r>
              <a:rPr sz="3100" spc="-75" dirty="0">
                <a:solidFill>
                  <a:srgbClr val="212721"/>
                </a:solidFill>
              </a:rPr>
              <a:t>Conducted</a:t>
            </a:r>
            <a:r>
              <a:rPr sz="3100" spc="35" dirty="0">
                <a:solidFill>
                  <a:srgbClr val="212721"/>
                </a:solidFill>
              </a:rPr>
              <a:t> </a:t>
            </a:r>
            <a:r>
              <a:rPr sz="3100" spc="155" dirty="0">
                <a:solidFill>
                  <a:srgbClr val="212721"/>
                </a:solidFill>
              </a:rPr>
              <a:t>User</a:t>
            </a:r>
            <a:r>
              <a:rPr sz="3100" spc="35" dirty="0">
                <a:solidFill>
                  <a:srgbClr val="212721"/>
                </a:solidFill>
              </a:rPr>
              <a:t> </a:t>
            </a:r>
            <a:r>
              <a:rPr sz="3100" dirty="0">
                <a:solidFill>
                  <a:srgbClr val="212721"/>
                </a:solidFill>
              </a:rPr>
              <a:t>Research</a:t>
            </a:r>
            <a:r>
              <a:rPr sz="3100" spc="35" dirty="0">
                <a:solidFill>
                  <a:srgbClr val="212721"/>
                </a:solidFill>
              </a:rPr>
              <a:t> </a:t>
            </a:r>
            <a:r>
              <a:rPr sz="3100" spc="220" dirty="0">
                <a:solidFill>
                  <a:srgbClr val="212721"/>
                </a:solidFill>
              </a:rPr>
              <a:t>with</a:t>
            </a:r>
            <a:r>
              <a:rPr sz="3100" spc="35" dirty="0">
                <a:solidFill>
                  <a:srgbClr val="212721"/>
                </a:solidFill>
              </a:rPr>
              <a:t> </a:t>
            </a:r>
            <a:r>
              <a:rPr sz="3100" spc="90" dirty="0">
                <a:solidFill>
                  <a:srgbClr val="212721"/>
                </a:solidFill>
              </a:rPr>
              <a:t>MERGE*</a:t>
            </a:r>
            <a:endParaRPr sz="3100"/>
          </a:p>
        </p:txBody>
      </p:sp>
      <p:sp>
        <p:nvSpPr>
          <p:cNvPr id="6" name="object 6"/>
          <p:cNvSpPr txBox="1"/>
          <p:nvPr/>
        </p:nvSpPr>
        <p:spPr>
          <a:xfrm>
            <a:off x="1545827" y="6416946"/>
            <a:ext cx="422084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5" dirty="0">
                <a:solidFill>
                  <a:srgbClr val="575757"/>
                </a:solidFill>
                <a:latin typeface="Verdana"/>
                <a:cs typeface="Verdana"/>
              </a:rPr>
              <a:t>*MERGE</a:t>
            </a:r>
            <a:r>
              <a:rPr sz="1000" spc="-9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575757"/>
                </a:solidFill>
                <a:latin typeface="Verdana"/>
                <a:cs typeface="Verdana"/>
              </a:rPr>
              <a:t>is</a:t>
            </a:r>
            <a:r>
              <a:rPr sz="1000" spc="-8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575757"/>
                </a:solidFill>
                <a:latin typeface="Verdana"/>
                <a:cs typeface="Verdana"/>
              </a:rPr>
              <a:t>our</a:t>
            </a:r>
            <a:r>
              <a:rPr sz="1000" spc="-8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575757"/>
                </a:solidFill>
                <a:latin typeface="Verdana"/>
                <a:cs typeface="Verdana"/>
              </a:rPr>
              <a:t>external</a:t>
            </a:r>
            <a:r>
              <a:rPr sz="1000" spc="-8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575757"/>
                </a:solidFill>
                <a:latin typeface="Verdana"/>
                <a:cs typeface="Verdana"/>
              </a:rPr>
              <a:t>partner</a:t>
            </a:r>
            <a:r>
              <a:rPr sz="1000" spc="-8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575757"/>
                </a:solidFill>
                <a:latin typeface="Verdana"/>
                <a:cs typeface="Verdana"/>
              </a:rPr>
              <a:t>conducting</a:t>
            </a:r>
            <a:r>
              <a:rPr sz="1000" spc="-8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575757"/>
                </a:solidFill>
                <a:latin typeface="Verdana"/>
                <a:cs typeface="Verdana"/>
              </a:rPr>
              <a:t>direct-customers'</a:t>
            </a:r>
            <a:r>
              <a:rPr sz="1000" spc="-9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575757"/>
                </a:solidFill>
                <a:latin typeface="Verdana"/>
                <a:cs typeface="Verdana"/>
              </a:rPr>
              <a:t>interview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609724" y="2550937"/>
            <a:ext cx="4302760" cy="1719580"/>
          </a:xfrm>
          <a:prstGeom prst="rect">
            <a:avLst/>
          </a:prstGeom>
        </p:spPr>
        <p:txBody>
          <a:bodyPr vert="horz" wrap="square" lIns="0" tIns="1327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45"/>
              </a:spcBef>
            </a:pPr>
            <a:r>
              <a:rPr sz="24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or</a:t>
            </a:r>
            <a:r>
              <a:rPr sz="24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400" b="1" spc="150" dirty="0">
                <a:solidFill>
                  <a:srgbClr val="1ED75F"/>
                </a:solidFill>
                <a:latin typeface="Century Gothic"/>
                <a:cs typeface="Century Gothic"/>
              </a:rPr>
              <a:t>L&amp;D</a:t>
            </a:r>
            <a:r>
              <a:rPr sz="24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4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Coordinators</a:t>
            </a:r>
            <a:r>
              <a:rPr sz="24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4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(LDCs):</a:t>
            </a:r>
            <a:endParaRPr sz="2400">
              <a:latin typeface="Century Gothic"/>
              <a:cs typeface="Century Gothic"/>
            </a:endParaRPr>
          </a:p>
          <a:p>
            <a:pPr marL="660400" indent="-217170">
              <a:lnSpc>
                <a:spcPct val="100000"/>
              </a:lnSpc>
              <a:spcBef>
                <a:spcPts val="635"/>
              </a:spcBef>
              <a:buClr>
                <a:srgbClr val="1ED75F"/>
              </a:buClr>
              <a:buChar char="–"/>
              <a:tabLst>
                <a:tab pos="660400" algn="l"/>
              </a:tabLst>
            </a:pP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1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140" dirty="0">
                <a:solidFill>
                  <a:srgbClr val="575757"/>
                </a:solidFill>
                <a:latin typeface="Verdana"/>
                <a:cs typeface="Verdana"/>
              </a:rPr>
              <a:t>k</a:t>
            </a:r>
            <a:r>
              <a:rPr sz="1600" spc="-95" dirty="0">
                <a:solidFill>
                  <a:srgbClr val="575757"/>
                </a:solidFill>
                <a:latin typeface="Verdana"/>
                <a:cs typeface="Verdana"/>
              </a:rPr>
              <a:t>e</a:t>
            </a:r>
            <a:r>
              <a:rPr sz="1600" spc="-100" dirty="0">
                <a:solidFill>
                  <a:srgbClr val="575757"/>
                </a:solidFill>
                <a:latin typeface="Verdana"/>
                <a:cs typeface="Verdana"/>
              </a:rPr>
              <a:t>y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85" dirty="0">
                <a:solidFill>
                  <a:srgbClr val="575757"/>
                </a:solidFill>
                <a:latin typeface="Verdana"/>
                <a:cs typeface="Verdana"/>
              </a:rPr>
              <a:t>p</a:t>
            </a:r>
            <a:r>
              <a:rPr sz="1600" spc="-75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600" spc="-105" dirty="0">
                <a:solidFill>
                  <a:srgbClr val="575757"/>
                </a:solidFill>
                <a:latin typeface="Verdana"/>
                <a:cs typeface="Verdana"/>
              </a:rPr>
              <a:t>ocess: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35" dirty="0">
                <a:solidFill>
                  <a:srgbClr val="575757"/>
                </a:solidFill>
                <a:latin typeface="Verdana"/>
                <a:cs typeface="Verdana"/>
              </a:rPr>
              <a:t>F</a:t>
            </a: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eedback</a:t>
            </a:r>
            <a:endParaRPr sz="1600">
              <a:latin typeface="Verdana"/>
              <a:cs typeface="Verdana"/>
            </a:endParaRPr>
          </a:p>
          <a:p>
            <a:pPr marL="660400" marR="883285" indent="-217170">
              <a:lnSpc>
                <a:spcPct val="100000"/>
              </a:lnSpc>
              <a:spcBef>
                <a:spcPts val="600"/>
              </a:spcBef>
              <a:buClr>
                <a:srgbClr val="1ED75F"/>
              </a:buClr>
              <a:buChar char="–"/>
              <a:tabLst>
                <a:tab pos="660400" algn="l"/>
              </a:tabLst>
            </a:pPr>
            <a:r>
              <a:rPr sz="1600" spc="-80" dirty="0">
                <a:solidFill>
                  <a:srgbClr val="575757"/>
                </a:solidFill>
                <a:latin typeface="Verdana"/>
                <a:cs typeface="Verdana"/>
              </a:rPr>
              <a:t>75-minute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40" dirty="0">
                <a:solidFill>
                  <a:srgbClr val="575757"/>
                </a:solidFill>
                <a:latin typeface="Verdana"/>
                <a:cs typeface="Verdana"/>
              </a:rPr>
              <a:t>goal</a:t>
            </a:r>
            <a:r>
              <a:rPr sz="1600" spc="-15" dirty="0">
                <a:solidFill>
                  <a:srgbClr val="575757"/>
                </a:solidFill>
                <a:latin typeface="Verdana"/>
                <a:cs typeface="Verdana"/>
              </a:rPr>
              <a:t>-</a:t>
            </a:r>
            <a:r>
              <a:rPr sz="1600" spc="-75" dirty="0">
                <a:solidFill>
                  <a:srgbClr val="575757"/>
                </a:solidFill>
                <a:latin typeface="Verdana"/>
                <a:cs typeface="Verdana"/>
              </a:rPr>
              <a:t>oriented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task  </a:t>
            </a: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observations</a:t>
            </a:r>
            <a:endParaRPr sz="1600">
              <a:latin typeface="Verdana"/>
              <a:cs typeface="Verdana"/>
            </a:endParaRPr>
          </a:p>
          <a:p>
            <a:pPr marL="660400" indent="-217170">
              <a:lnSpc>
                <a:spcPct val="100000"/>
              </a:lnSpc>
              <a:spcBef>
                <a:spcPts val="600"/>
              </a:spcBef>
              <a:buClr>
                <a:srgbClr val="1ED75F"/>
              </a:buClr>
              <a:buChar char="–"/>
              <a:tabLst>
                <a:tab pos="660400" algn="l"/>
              </a:tabLst>
            </a:pPr>
            <a:r>
              <a:rPr sz="1600" spc="-60" dirty="0">
                <a:solidFill>
                  <a:srgbClr val="575757"/>
                </a:solidFill>
                <a:latin typeface="Verdana"/>
                <a:cs typeface="Verdana"/>
              </a:rPr>
              <a:t>5</a:t>
            </a:r>
            <a:r>
              <a:rPr sz="1600" spc="-14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pa</a:t>
            </a:r>
            <a:r>
              <a:rPr sz="1600" spc="20" dirty="0">
                <a:solidFill>
                  <a:srgbClr val="575757"/>
                </a:solidFill>
                <a:latin typeface="Verdana"/>
                <a:cs typeface="Verdana"/>
              </a:rPr>
              <a:t>r</a:t>
            </a:r>
            <a:r>
              <a:rPr sz="1600" spc="-55" dirty="0">
                <a:solidFill>
                  <a:srgbClr val="575757"/>
                </a:solidFill>
                <a:latin typeface="Verdana"/>
                <a:cs typeface="Verdana"/>
              </a:rPr>
              <a:t>ticipants</a:t>
            </a:r>
            <a:endParaRPr sz="1600">
              <a:latin typeface="Verdana"/>
              <a:cs typeface="Verdan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938151" y="2081213"/>
            <a:ext cx="316230" cy="4079240"/>
            <a:chOff x="5938151" y="2081213"/>
            <a:chExt cx="316230" cy="4079240"/>
          </a:xfrm>
        </p:grpSpPr>
        <p:sp>
          <p:nvSpPr>
            <p:cNvPr id="9" name="object 9"/>
            <p:cNvSpPr/>
            <p:nvPr/>
          </p:nvSpPr>
          <p:spPr>
            <a:xfrm>
              <a:off x="6096000" y="2081213"/>
              <a:ext cx="0" cy="4079240"/>
            </a:xfrm>
            <a:custGeom>
              <a:avLst/>
              <a:gdLst/>
              <a:ahLst/>
              <a:cxnLst/>
              <a:rect l="l" t="t" r="r" b="b"/>
              <a:pathLst>
                <a:path h="4079240">
                  <a:moveTo>
                    <a:pt x="0" y="0"/>
                  </a:moveTo>
                  <a:lnTo>
                    <a:pt x="0" y="4079099"/>
                  </a:lnTo>
                </a:path>
              </a:pathLst>
            </a:custGeom>
            <a:ln w="9524">
              <a:solidFill>
                <a:srgbClr val="9A9A9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942913" y="3967298"/>
              <a:ext cx="306705" cy="307340"/>
            </a:xfrm>
            <a:custGeom>
              <a:avLst/>
              <a:gdLst/>
              <a:ahLst/>
              <a:cxnLst/>
              <a:rect l="l" t="t" r="r" b="b"/>
              <a:pathLst>
                <a:path w="306704" h="307339">
                  <a:moveTo>
                    <a:pt x="153085" y="306910"/>
                  </a:moveTo>
                  <a:lnTo>
                    <a:pt x="104754" y="299101"/>
                  </a:lnTo>
                  <a:lnTo>
                    <a:pt x="62738" y="277344"/>
                  </a:lnTo>
                  <a:lnTo>
                    <a:pt x="29578" y="244146"/>
                  </a:lnTo>
                  <a:lnTo>
                    <a:pt x="7818" y="202015"/>
                  </a:lnTo>
                  <a:lnTo>
                    <a:pt x="0" y="153455"/>
                  </a:lnTo>
                  <a:lnTo>
                    <a:pt x="7818" y="105007"/>
                  </a:lnTo>
                  <a:lnTo>
                    <a:pt x="29578" y="62889"/>
                  </a:lnTo>
                  <a:lnTo>
                    <a:pt x="62738" y="29650"/>
                  </a:lnTo>
                  <a:lnTo>
                    <a:pt x="104754" y="7837"/>
                  </a:lnTo>
                  <a:lnTo>
                    <a:pt x="153085" y="0"/>
                  </a:lnTo>
                  <a:lnTo>
                    <a:pt x="201528" y="7837"/>
                  </a:lnTo>
                  <a:lnTo>
                    <a:pt x="243558" y="29650"/>
                  </a:lnTo>
                  <a:lnTo>
                    <a:pt x="276676" y="62889"/>
                  </a:lnTo>
                  <a:lnTo>
                    <a:pt x="298381" y="105007"/>
                  </a:lnTo>
                  <a:lnTo>
                    <a:pt x="306171" y="153455"/>
                  </a:lnTo>
                  <a:lnTo>
                    <a:pt x="298381" y="202015"/>
                  </a:lnTo>
                  <a:lnTo>
                    <a:pt x="276676" y="244146"/>
                  </a:lnTo>
                  <a:lnTo>
                    <a:pt x="243558" y="277344"/>
                  </a:lnTo>
                  <a:lnTo>
                    <a:pt x="201528" y="299101"/>
                  </a:lnTo>
                  <a:lnTo>
                    <a:pt x="153085" y="306910"/>
                  </a:lnTo>
                  <a:close/>
                </a:path>
              </a:pathLst>
            </a:custGeom>
            <a:solidFill>
              <a:srgbClr val="1ED7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942913" y="3967298"/>
              <a:ext cx="306705" cy="307340"/>
            </a:xfrm>
            <a:custGeom>
              <a:avLst/>
              <a:gdLst/>
              <a:ahLst/>
              <a:cxnLst/>
              <a:rect l="l" t="t" r="r" b="b"/>
              <a:pathLst>
                <a:path w="306704" h="307339">
                  <a:moveTo>
                    <a:pt x="0" y="153455"/>
                  </a:moveTo>
                  <a:lnTo>
                    <a:pt x="7818" y="105007"/>
                  </a:lnTo>
                  <a:lnTo>
                    <a:pt x="29578" y="62889"/>
                  </a:lnTo>
                  <a:lnTo>
                    <a:pt x="62738" y="29650"/>
                  </a:lnTo>
                  <a:lnTo>
                    <a:pt x="104754" y="7837"/>
                  </a:lnTo>
                  <a:lnTo>
                    <a:pt x="153085" y="0"/>
                  </a:lnTo>
                  <a:lnTo>
                    <a:pt x="201528" y="7837"/>
                  </a:lnTo>
                  <a:lnTo>
                    <a:pt x="243558" y="29650"/>
                  </a:lnTo>
                  <a:lnTo>
                    <a:pt x="276676" y="62889"/>
                  </a:lnTo>
                  <a:lnTo>
                    <a:pt x="298381" y="105007"/>
                  </a:lnTo>
                  <a:lnTo>
                    <a:pt x="306171" y="153455"/>
                  </a:lnTo>
                  <a:lnTo>
                    <a:pt x="298381" y="202015"/>
                  </a:lnTo>
                  <a:lnTo>
                    <a:pt x="276676" y="244146"/>
                  </a:lnTo>
                  <a:lnTo>
                    <a:pt x="243558" y="277344"/>
                  </a:lnTo>
                  <a:lnTo>
                    <a:pt x="201528" y="299101"/>
                  </a:lnTo>
                  <a:lnTo>
                    <a:pt x="153085" y="306910"/>
                  </a:lnTo>
                  <a:lnTo>
                    <a:pt x="104754" y="299101"/>
                  </a:lnTo>
                  <a:lnTo>
                    <a:pt x="62738" y="277344"/>
                  </a:lnTo>
                  <a:lnTo>
                    <a:pt x="29578" y="244146"/>
                  </a:lnTo>
                  <a:lnTo>
                    <a:pt x="7818" y="202015"/>
                  </a:lnTo>
                  <a:lnTo>
                    <a:pt x="0" y="153455"/>
                  </a:lnTo>
                  <a:close/>
                </a:path>
              </a:pathLst>
            </a:custGeom>
            <a:ln w="9524">
              <a:solidFill>
                <a:srgbClr val="1ED7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59344" y="4009559"/>
              <a:ext cx="120250" cy="22473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AFA317-C1FE-4B13-9756-908B7444C4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AFA317-C1FE-4B13-9756-908B7444C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e4pContent1"/>
          <p:cNvSpPr txBox="1"/>
          <p:nvPr/>
        </p:nvSpPr>
        <p:spPr>
          <a:xfrm>
            <a:off x="630000" y="1396209"/>
            <a:ext cx="4386077" cy="32040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rget user feedback on L&amp;D and LAB has been declining: NPS, People Survey, Quarterly Pulse Chec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eam has leveraged some quant &amp; qual user feedback to try to identify key pain / intervention point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…and has tested several potential improvement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…but the needle is not moving enoug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4818300" cy="470898"/>
          </a:xfrm>
        </p:spPr>
        <p:txBody>
          <a:bodyPr vert="horz"/>
          <a:lstStyle/>
          <a:p>
            <a:r>
              <a:rPr lang="en-US"/>
              <a:t>What is the problem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E84CA5-9A7E-4DB5-8553-9ACEACB64300}"/>
              </a:ext>
            </a:extLst>
          </p:cNvPr>
          <p:cNvSpPr txBox="1">
            <a:spLocks/>
          </p:cNvSpPr>
          <p:nvPr/>
        </p:nvSpPr>
        <p:spPr>
          <a:xfrm>
            <a:off x="6210300" y="622800"/>
            <a:ext cx="561022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j-ea"/>
                <a:cs typeface="+mj-cs"/>
                <a:sym typeface="Trebuchet MS" panose="020B0603020202020204" pitchFamily="34" charset="0"/>
              </a:rPr>
              <a:t>What are we doing about it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D14F8-2650-4CAC-A692-81C2598F6EAB}"/>
              </a:ext>
            </a:extLst>
          </p:cNvPr>
          <p:cNvSpPr txBox="1"/>
          <p:nvPr/>
        </p:nvSpPr>
        <p:spPr>
          <a:xfrm>
            <a:off x="6350979" y="1396209"/>
            <a:ext cx="5211022" cy="53245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he L&amp;D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oC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aims to build confidence and prioritize solutions to root causes of pain points in our customer's experience– learners and L&amp;D admins. More specificall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dentify largest root cause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f pain &amp; intervention points - to take on as a function – whether digital or no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uantify the impact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tential improvements will have on improving L&amp;D feedback &amp; usag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ioritize roadmap effectively;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digital tools' initiatives should the HR function prioritize to improve our learners' experience in Q4/2022 and beyond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584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40074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4" y="6406051"/>
            <a:ext cx="640077" cy="154092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270446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60" dirty="0"/>
              <a:t>Project</a:t>
            </a:r>
            <a:r>
              <a:rPr spc="-50" dirty="0"/>
              <a:t> </a:t>
            </a:r>
            <a:r>
              <a:rPr spc="-10" dirty="0"/>
              <a:t>Goals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7896888" y="1623304"/>
            <a:ext cx="947419" cy="664845"/>
            <a:chOff x="7896888" y="1623304"/>
            <a:chExt cx="947419" cy="664845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053443" y="1685008"/>
              <a:ext cx="219141" cy="253465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8231302" y="1960422"/>
              <a:ext cx="612775" cy="327660"/>
            </a:xfrm>
            <a:custGeom>
              <a:avLst/>
              <a:gdLst/>
              <a:ahLst/>
              <a:cxnLst/>
              <a:rect l="l" t="t" r="r" b="b"/>
              <a:pathLst>
                <a:path w="612775" h="327660">
                  <a:moveTo>
                    <a:pt x="612749" y="239280"/>
                  </a:moveTo>
                  <a:lnTo>
                    <a:pt x="607936" y="184264"/>
                  </a:lnTo>
                  <a:lnTo>
                    <a:pt x="593432" y="134518"/>
                  </a:lnTo>
                  <a:lnTo>
                    <a:pt x="571106" y="93941"/>
                  </a:lnTo>
                  <a:lnTo>
                    <a:pt x="541997" y="59994"/>
                  </a:lnTo>
                  <a:lnTo>
                    <a:pt x="507199" y="30149"/>
                  </a:lnTo>
                  <a:lnTo>
                    <a:pt x="467753" y="1905"/>
                  </a:lnTo>
                  <a:lnTo>
                    <a:pt x="464972" y="0"/>
                  </a:lnTo>
                  <a:lnTo>
                    <a:pt x="461175" y="698"/>
                  </a:lnTo>
                  <a:lnTo>
                    <a:pt x="459257" y="3479"/>
                  </a:lnTo>
                  <a:lnTo>
                    <a:pt x="457377" y="6286"/>
                  </a:lnTo>
                  <a:lnTo>
                    <a:pt x="458114" y="10045"/>
                  </a:lnTo>
                  <a:lnTo>
                    <a:pt x="460883" y="11912"/>
                  </a:lnTo>
                  <a:lnTo>
                    <a:pt x="498932" y="39166"/>
                  </a:lnTo>
                  <a:lnTo>
                    <a:pt x="532498" y="67881"/>
                  </a:lnTo>
                  <a:lnTo>
                    <a:pt x="560552" y="100418"/>
                  </a:lnTo>
                  <a:lnTo>
                    <a:pt x="582028" y="139153"/>
                  </a:lnTo>
                  <a:lnTo>
                    <a:pt x="595922" y="186474"/>
                  </a:lnTo>
                  <a:lnTo>
                    <a:pt x="600659" y="236829"/>
                  </a:lnTo>
                  <a:lnTo>
                    <a:pt x="596684" y="259448"/>
                  </a:lnTo>
                  <a:lnTo>
                    <a:pt x="566864" y="294005"/>
                  </a:lnTo>
                  <a:lnTo>
                    <a:pt x="501396" y="310400"/>
                  </a:lnTo>
                  <a:lnTo>
                    <a:pt x="453466" y="313575"/>
                  </a:lnTo>
                  <a:lnTo>
                    <a:pt x="394322" y="314744"/>
                  </a:lnTo>
                  <a:lnTo>
                    <a:pt x="323138" y="314921"/>
                  </a:lnTo>
                  <a:lnTo>
                    <a:pt x="288671" y="314921"/>
                  </a:lnTo>
                  <a:lnTo>
                    <a:pt x="288290" y="314871"/>
                  </a:lnTo>
                  <a:lnTo>
                    <a:pt x="287896" y="314871"/>
                  </a:lnTo>
                  <a:lnTo>
                    <a:pt x="287553" y="314921"/>
                  </a:lnTo>
                  <a:lnTo>
                    <a:pt x="205384" y="314629"/>
                  </a:lnTo>
                  <a:lnTo>
                    <a:pt x="139039" y="312623"/>
                  </a:lnTo>
                  <a:lnTo>
                    <a:pt x="88176" y="307187"/>
                  </a:lnTo>
                  <a:lnTo>
                    <a:pt x="51358" y="296583"/>
                  </a:lnTo>
                  <a:lnTo>
                    <a:pt x="16217" y="259816"/>
                  </a:lnTo>
                  <a:lnTo>
                    <a:pt x="11836" y="237185"/>
                  </a:lnTo>
                  <a:lnTo>
                    <a:pt x="12179" y="212407"/>
                  </a:lnTo>
                  <a:lnTo>
                    <a:pt x="28397" y="139979"/>
                  </a:lnTo>
                  <a:lnTo>
                    <a:pt x="49568" y="101422"/>
                  </a:lnTo>
                  <a:lnTo>
                    <a:pt x="77774" y="68757"/>
                  </a:lnTo>
                  <a:lnTo>
                    <a:pt x="111874" y="39674"/>
                  </a:lnTo>
                  <a:lnTo>
                    <a:pt x="150710" y="11912"/>
                  </a:lnTo>
                  <a:lnTo>
                    <a:pt x="153479" y="10020"/>
                  </a:lnTo>
                  <a:lnTo>
                    <a:pt x="154178" y="6235"/>
                  </a:lnTo>
                  <a:lnTo>
                    <a:pt x="150380" y="711"/>
                  </a:lnTo>
                  <a:lnTo>
                    <a:pt x="146608" y="12"/>
                  </a:lnTo>
                  <a:lnTo>
                    <a:pt x="143840" y="1905"/>
                  </a:lnTo>
                  <a:lnTo>
                    <a:pt x="103606" y="30670"/>
                  </a:lnTo>
                  <a:lnTo>
                    <a:pt x="68275" y="60896"/>
                  </a:lnTo>
                  <a:lnTo>
                    <a:pt x="39027" y="95034"/>
                  </a:lnTo>
                  <a:lnTo>
                    <a:pt x="17081" y="135496"/>
                  </a:lnTo>
                  <a:lnTo>
                    <a:pt x="3606" y="184746"/>
                  </a:lnTo>
                  <a:lnTo>
                    <a:pt x="0" y="239877"/>
                  </a:lnTo>
                  <a:lnTo>
                    <a:pt x="5321" y="265010"/>
                  </a:lnTo>
                  <a:lnTo>
                    <a:pt x="39077" y="303898"/>
                  </a:lnTo>
                  <a:lnTo>
                    <a:pt x="107188" y="322072"/>
                  </a:lnTo>
                  <a:lnTo>
                    <a:pt x="156184" y="325602"/>
                  </a:lnTo>
                  <a:lnTo>
                    <a:pt x="216382" y="326898"/>
                  </a:lnTo>
                  <a:lnTo>
                    <a:pt x="284899" y="327088"/>
                  </a:lnTo>
                  <a:lnTo>
                    <a:pt x="285305" y="327406"/>
                  </a:lnTo>
                  <a:lnTo>
                    <a:pt x="288671" y="327088"/>
                  </a:lnTo>
                  <a:lnTo>
                    <a:pt x="323138" y="327088"/>
                  </a:lnTo>
                  <a:lnTo>
                    <a:pt x="396100" y="326898"/>
                  </a:lnTo>
                  <a:lnTo>
                    <a:pt x="456793" y="325589"/>
                  </a:lnTo>
                  <a:lnTo>
                    <a:pt x="506158" y="322021"/>
                  </a:lnTo>
                  <a:lnTo>
                    <a:pt x="545109" y="315099"/>
                  </a:lnTo>
                  <a:lnTo>
                    <a:pt x="595490" y="286626"/>
                  </a:lnTo>
                  <a:lnTo>
                    <a:pt x="607923" y="264490"/>
                  </a:lnTo>
                  <a:lnTo>
                    <a:pt x="612749" y="23928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368652" y="1623304"/>
              <a:ext cx="337185" cy="389255"/>
            </a:xfrm>
            <a:custGeom>
              <a:avLst/>
              <a:gdLst/>
              <a:ahLst/>
              <a:cxnLst/>
              <a:rect l="l" t="t" r="r" b="b"/>
              <a:pathLst>
                <a:path w="337184" h="389255">
                  <a:moveTo>
                    <a:pt x="168374" y="388716"/>
                  </a:moveTo>
                  <a:lnTo>
                    <a:pt x="126398" y="380416"/>
                  </a:lnTo>
                  <a:lnTo>
                    <a:pt x="86956" y="357429"/>
                  </a:lnTo>
                  <a:lnTo>
                    <a:pt x="52322" y="322626"/>
                  </a:lnTo>
                  <a:lnTo>
                    <a:pt x="24769" y="278877"/>
                  </a:lnTo>
                  <a:lnTo>
                    <a:pt x="6571" y="229053"/>
                  </a:lnTo>
                  <a:lnTo>
                    <a:pt x="0" y="176026"/>
                  </a:lnTo>
                  <a:lnTo>
                    <a:pt x="5699" y="127573"/>
                  </a:lnTo>
                  <a:lnTo>
                    <a:pt x="21979" y="85059"/>
                  </a:lnTo>
                  <a:lnTo>
                    <a:pt x="47614" y="49765"/>
                  </a:lnTo>
                  <a:lnTo>
                    <a:pt x="81375" y="22971"/>
                  </a:lnTo>
                  <a:lnTo>
                    <a:pt x="122038" y="5956"/>
                  </a:lnTo>
                  <a:lnTo>
                    <a:pt x="168374" y="0"/>
                  </a:lnTo>
                  <a:lnTo>
                    <a:pt x="214715" y="5956"/>
                  </a:lnTo>
                  <a:lnTo>
                    <a:pt x="229562" y="12167"/>
                  </a:lnTo>
                  <a:lnTo>
                    <a:pt x="168374" y="12167"/>
                  </a:lnTo>
                  <a:lnTo>
                    <a:pt x="125383" y="17710"/>
                  </a:lnTo>
                  <a:lnTo>
                    <a:pt x="87660" y="33546"/>
                  </a:lnTo>
                  <a:lnTo>
                    <a:pt x="56341" y="58486"/>
                  </a:lnTo>
                  <a:lnTo>
                    <a:pt x="32563" y="91338"/>
                  </a:lnTo>
                  <a:lnTo>
                    <a:pt x="17463" y="130915"/>
                  </a:lnTo>
                  <a:lnTo>
                    <a:pt x="12177" y="176026"/>
                  </a:lnTo>
                  <a:lnTo>
                    <a:pt x="18275" y="226012"/>
                  </a:lnTo>
                  <a:lnTo>
                    <a:pt x="35161" y="272983"/>
                  </a:lnTo>
                  <a:lnTo>
                    <a:pt x="60725" y="314230"/>
                  </a:lnTo>
                  <a:lnTo>
                    <a:pt x="92855" y="347046"/>
                  </a:lnTo>
                  <a:lnTo>
                    <a:pt x="129442" y="368722"/>
                  </a:lnTo>
                  <a:lnTo>
                    <a:pt x="168374" y="376549"/>
                  </a:lnTo>
                  <a:lnTo>
                    <a:pt x="217915" y="376549"/>
                  </a:lnTo>
                  <a:lnTo>
                    <a:pt x="210918" y="380555"/>
                  </a:lnTo>
                  <a:lnTo>
                    <a:pt x="168374" y="388716"/>
                  </a:lnTo>
                  <a:close/>
                </a:path>
                <a:path w="337184" h="389255">
                  <a:moveTo>
                    <a:pt x="217915" y="376549"/>
                  </a:moveTo>
                  <a:lnTo>
                    <a:pt x="168374" y="376549"/>
                  </a:lnTo>
                  <a:lnTo>
                    <a:pt x="207836" y="368861"/>
                  </a:lnTo>
                  <a:lnTo>
                    <a:pt x="244580" y="347491"/>
                  </a:lnTo>
                  <a:lnTo>
                    <a:pt x="276618" y="314980"/>
                  </a:lnTo>
                  <a:lnTo>
                    <a:pt x="301964" y="273872"/>
                  </a:lnTo>
                  <a:lnTo>
                    <a:pt x="318628" y="226706"/>
                  </a:lnTo>
                  <a:lnTo>
                    <a:pt x="324625" y="176026"/>
                  </a:lnTo>
                  <a:lnTo>
                    <a:pt x="319339" y="130915"/>
                  </a:lnTo>
                  <a:lnTo>
                    <a:pt x="304237" y="91338"/>
                  </a:lnTo>
                  <a:lnTo>
                    <a:pt x="280454" y="58486"/>
                  </a:lnTo>
                  <a:lnTo>
                    <a:pt x="249127" y="33546"/>
                  </a:lnTo>
                  <a:lnTo>
                    <a:pt x="211388" y="17710"/>
                  </a:lnTo>
                  <a:lnTo>
                    <a:pt x="168374" y="12167"/>
                  </a:lnTo>
                  <a:lnTo>
                    <a:pt x="229562" y="12167"/>
                  </a:lnTo>
                  <a:lnTo>
                    <a:pt x="289161" y="49765"/>
                  </a:lnTo>
                  <a:lnTo>
                    <a:pt x="314809" y="85059"/>
                  </a:lnTo>
                  <a:lnTo>
                    <a:pt x="331099" y="127573"/>
                  </a:lnTo>
                  <a:lnTo>
                    <a:pt x="336802" y="176026"/>
                  </a:lnTo>
                  <a:lnTo>
                    <a:pt x="330340" y="229748"/>
                  </a:lnTo>
                  <a:lnTo>
                    <a:pt x="312379" y="279766"/>
                  </a:lnTo>
                  <a:lnTo>
                    <a:pt x="285062" y="323376"/>
                  </a:lnTo>
                  <a:lnTo>
                    <a:pt x="250528" y="357874"/>
                  </a:lnTo>
                  <a:lnTo>
                    <a:pt x="217915" y="376549"/>
                  </a:lnTo>
                  <a:close/>
                </a:path>
              </a:pathLst>
            </a:custGeom>
            <a:solidFill>
              <a:srgbClr val="21272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368652" y="1623304"/>
              <a:ext cx="337185" cy="389255"/>
            </a:xfrm>
            <a:custGeom>
              <a:avLst/>
              <a:gdLst/>
              <a:ahLst/>
              <a:cxnLst/>
              <a:rect l="l" t="t" r="r" b="b"/>
              <a:pathLst>
                <a:path w="337184" h="389255">
                  <a:moveTo>
                    <a:pt x="168374" y="388716"/>
                  </a:moveTo>
                  <a:lnTo>
                    <a:pt x="126398" y="380416"/>
                  </a:lnTo>
                  <a:lnTo>
                    <a:pt x="86956" y="357429"/>
                  </a:lnTo>
                  <a:lnTo>
                    <a:pt x="52322" y="322626"/>
                  </a:lnTo>
                  <a:lnTo>
                    <a:pt x="24769" y="278877"/>
                  </a:lnTo>
                  <a:lnTo>
                    <a:pt x="6571" y="229053"/>
                  </a:lnTo>
                  <a:lnTo>
                    <a:pt x="0" y="176026"/>
                  </a:lnTo>
                  <a:lnTo>
                    <a:pt x="5699" y="127573"/>
                  </a:lnTo>
                  <a:lnTo>
                    <a:pt x="21979" y="85059"/>
                  </a:lnTo>
                  <a:lnTo>
                    <a:pt x="47614" y="49765"/>
                  </a:lnTo>
                  <a:lnTo>
                    <a:pt x="81375" y="22971"/>
                  </a:lnTo>
                  <a:lnTo>
                    <a:pt x="122038" y="5956"/>
                  </a:lnTo>
                  <a:lnTo>
                    <a:pt x="168374" y="0"/>
                  </a:lnTo>
                  <a:lnTo>
                    <a:pt x="214715" y="5956"/>
                  </a:lnTo>
                  <a:lnTo>
                    <a:pt x="229562" y="12167"/>
                  </a:lnTo>
                  <a:lnTo>
                    <a:pt x="168374" y="12167"/>
                  </a:lnTo>
                  <a:lnTo>
                    <a:pt x="125383" y="17710"/>
                  </a:lnTo>
                  <a:lnTo>
                    <a:pt x="87660" y="33546"/>
                  </a:lnTo>
                  <a:lnTo>
                    <a:pt x="56341" y="58486"/>
                  </a:lnTo>
                  <a:lnTo>
                    <a:pt x="32563" y="91338"/>
                  </a:lnTo>
                  <a:lnTo>
                    <a:pt x="17463" y="130915"/>
                  </a:lnTo>
                  <a:lnTo>
                    <a:pt x="12177" y="176026"/>
                  </a:lnTo>
                  <a:lnTo>
                    <a:pt x="18275" y="226012"/>
                  </a:lnTo>
                  <a:lnTo>
                    <a:pt x="35161" y="272983"/>
                  </a:lnTo>
                  <a:lnTo>
                    <a:pt x="60725" y="314230"/>
                  </a:lnTo>
                  <a:lnTo>
                    <a:pt x="92855" y="347046"/>
                  </a:lnTo>
                  <a:lnTo>
                    <a:pt x="129442" y="368722"/>
                  </a:lnTo>
                  <a:lnTo>
                    <a:pt x="168374" y="376549"/>
                  </a:lnTo>
                  <a:lnTo>
                    <a:pt x="217915" y="376549"/>
                  </a:lnTo>
                  <a:lnTo>
                    <a:pt x="210918" y="380555"/>
                  </a:lnTo>
                  <a:lnTo>
                    <a:pt x="168374" y="388716"/>
                  </a:lnTo>
                  <a:close/>
                </a:path>
                <a:path w="337184" h="389255">
                  <a:moveTo>
                    <a:pt x="217915" y="376549"/>
                  </a:moveTo>
                  <a:lnTo>
                    <a:pt x="168374" y="376549"/>
                  </a:lnTo>
                  <a:lnTo>
                    <a:pt x="207836" y="368861"/>
                  </a:lnTo>
                  <a:lnTo>
                    <a:pt x="244580" y="347491"/>
                  </a:lnTo>
                  <a:lnTo>
                    <a:pt x="276618" y="314980"/>
                  </a:lnTo>
                  <a:lnTo>
                    <a:pt x="301964" y="273872"/>
                  </a:lnTo>
                  <a:lnTo>
                    <a:pt x="318628" y="226706"/>
                  </a:lnTo>
                  <a:lnTo>
                    <a:pt x="324625" y="176026"/>
                  </a:lnTo>
                  <a:lnTo>
                    <a:pt x="319339" y="130915"/>
                  </a:lnTo>
                  <a:lnTo>
                    <a:pt x="304237" y="91338"/>
                  </a:lnTo>
                  <a:lnTo>
                    <a:pt x="280454" y="58486"/>
                  </a:lnTo>
                  <a:lnTo>
                    <a:pt x="249127" y="33546"/>
                  </a:lnTo>
                  <a:lnTo>
                    <a:pt x="211388" y="17710"/>
                  </a:lnTo>
                  <a:lnTo>
                    <a:pt x="168374" y="12167"/>
                  </a:lnTo>
                  <a:lnTo>
                    <a:pt x="229562" y="12167"/>
                  </a:lnTo>
                  <a:lnTo>
                    <a:pt x="289161" y="49765"/>
                  </a:lnTo>
                  <a:lnTo>
                    <a:pt x="314809" y="85059"/>
                  </a:lnTo>
                  <a:lnTo>
                    <a:pt x="331099" y="127573"/>
                  </a:lnTo>
                  <a:lnTo>
                    <a:pt x="336802" y="176026"/>
                  </a:lnTo>
                  <a:lnTo>
                    <a:pt x="330340" y="229748"/>
                  </a:lnTo>
                  <a:lnTo>
                    <a:pt x="312379" y="279766"/>
                  </a:lnTo>
                  <a:lnTo>
                    <a:pt x="285062" y="323376"/>
                  </a:lnTo>
                  <a:lnTo>
                    <a:pt x="250528" y="357874"/>
                  </a:lnTo>
                  <a:lnTo>
                    <a:pt x="217915" y="3765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36869" y="1885386"/>
              <a:ext cx="80014" cy="68847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7896886" y="1635581"/>
              <a:ext cx="356870" cy="494030"/>
            </a:xfrm>
            <a:custGeom>
              <a:avLst/>
              <a:gdLst/>
              <a:ahLst/>
              <a:cxnLst/>
              <a:rect l="l" t="t" r="r" b="b"/>
              <a:pathLst>
                <a:path w="356870" h="494030">
                  <a:moveTo>
                    <a:pt x="292595" y="484441"/>
                  </a:moveTo>
                  <a:lnTo>
                    <a:pt x="290131" y="481457"/>
                  </a:lnTo>
                  <a:lnTo>
                    <a:pt x="286766" y="481139"/>
                  </a:lnTo>
                  <a:lnTo>
                    <a:pt x="242493" y="481139"/>
                  </a:lnTo>
                  <a:lnTo>
                    <a:pt x="185737" y="481368"/>
                  </a:lnTo>
                  <a:lnTo>
                    <a:pt x="130721" y="480441"/>
                  </a:lnTo>
                  <a:lnTo>
                    <a:pt x="82181" y="477227"/>
                  </a:lnTo>
                  <a:lnTo>
                    <a:pt x="23520" y="459511"/>
                  </a:lnTo>
                  <a:lnTo>
                    <a:pt x="12052" y="428231"/>
                  </a:lnTo>
                  <a:lnTo>
                    <a:pt x="12293" y="409803"/>
                  </a:lnTo>
                  <a:lnTo>
                    <a:pt x="27711" y="348551"/>
                  </a:lnTo>
                  <a:lnTo>
                    <a:pt x="49758" y="315226"/>
                  </a:lnTo>
                  <a:lnTo>
                    <a:pt x="79197" y="287375"/>
                  </a:lnTo>
                  <a:lnTo>
                    <a:pt x="114388" y="261696"/>
                  </a:lnTo>
                  <a:lnTo>
                    <a:pt x="117157" y="259791"/>
                  </a:lnTo>
                  <a:lnTo>
                    <a:pt x="117856" y="256019"/>
                  </a:lnTo>
                  <a:lnTo>
                    <a:pt x="115963" y="253250"/>
                  </a:lnTo>
                  <a:lnTo>
                    <a:pt x="114058" y="250494"/>
                  </a:lnTo>
                  <a:lnTo>
                    <a:pt x="110286" y="249783"/>
                  </a:lnTo>
                  <a:lnTo>
                    <a:pt x="107518" y="251688"/>
                  </a:lnTo>
                  <a:lnTo>
                    <a:pt x="70612" y="278561"/>
                  </a:lnTo>
                  <a:lnTo>
                    <a:pt x="39700" y="307987"/>
                  </a:lnTo>
                  <a:lnTo>
                    <a:pt x="16510" y="343509"/>
                  </a:lnTo>
                  <a:lnTo>
                    <a:pt x="2743" y="388670"/>
                  </a:lnTo>
                  <a:lnTo>
                    <a:pt x="0" y="430860"/>
                  </a:lnTo>
                  <a:lnTo>
                    <a:pt x="4216" y="450253"/>
                  </a:lnTo>
                  <a:lnTo>
                    <a:pt x="37401" y="481114"/>
                  </a:lnTo>
                  <a:lnTo>
                    <a:pt x="77177" y="489089"/>
                  </a:lnTo>
                  <a:lnTo>
                    <a:pt x="133019" y="492785"/>
                  </a:lnTo>
                  <a:lnTo>
                    <a:pt x="204343" y="493687"/>
                  </a:lnTo>
                  <a:lnTo>
                    <a:pt x="242557" y="493306"/>
                  </a:lnTo>
                  <a:lnTo>
                    <a:pt x="286766" y="493306"/>
                  </a:lnTo>
                  <a:lnTo>
                    <a:pt x="289687" y="493039"/>
                  </a:lnTo>
                  <a:lnTo>
                    <a:pt x="292011" y="490715"/>
                  </a:lnTo>
                  <a:lnTo>
                    <a:pt x="292290" y="487794"/>
                  </a:lnTo>
                  <a:lnTo>
                    <a:pt x="292595" y="484441"/>
                  </a:lnTo>
                  <a:close/>
                </a:path>
                <a:path w="356870" h="494030">
                  <a:moveTo>
                    <a:pt x="356755" y="133477"/>
                  </a:moveTo>
                  <a:lnTo>
                    <a:pt x="350570" y="89890"/>
                  </a:lnTo>
                  <a:lnTo>
                    <a:pt x="344576" y="77266"/>
                  </a:lnTo>
                  <a:lnTo>
                    <a:pt x="344576" y="133477"/>
                  </a:lnTo>
                  <a:lnTo>
                    <a:pt x="334886" y="188747"/>
                  </a:lnTo>
                  <a:lnTo>
                    <a:pt x="309092" y="236118"/>
                  </a:lnTo>
                  <a:lnTo>
                    <a:pt x="272148" y="269201"/>
                  </a:lnTo>
                  <a:lnTo>
                    <a:pt x="228968" y="281647"/>
                  </a:lnTo>
                  <a:lnTo>
                    <a:pt x="186258" y="269011"/>
                  </a:lnTo>
                  <a:lnTo>
                    <a:pt x="149237" y="235610"/>
                  </a:lnTo>
                  <a:lnTo>
                    <a:pt x="123164" y="188175"/>
                  </a:lnTo>
                  <a:lnTo>
                    <a:pt x="113309" y="133477"/>
                  </a:lnTo>
                  <a:lnTo>
                    <a:pt x="121958" y="84861"/>
                  </a:lnTo>
                  <a:lnTo>
                    <a:pt x="146011" y="46456"/>
                  </a:lnTo>
                  <a:lnTo>
                    <a:pt x="182626" y="21234"/>
                  </a:lnTo>
                  <a:lnTo>
                    <a:pt x="228968" y="12166"/>
                  </a:lnTo>
                  <a:lnTo>
                    <a:pt x="275297" y="21234"/>
                  </a:lnTo>
                  <a:lnTo>
                    <a:pt x="311899" y="46456"/>
                  </a:lnTo>
                  <a:lnTo>
                    <a:pt x="335927" y="84861"/>
                  </a:lnTo>
                  <a:lnTo>
                    <a:pt x="344576" y="133477"/>
                  </a:lnTo>
                  <a:lnTo>
                    <a:pt x="344576" y="77266"/>
                  </a:lnTo>
                  <a:lnTo>
                    <a:pt x="305955" y="24714"/>
                  </a:lnTo>
                  <a:lnTo>
                    <a:pt x="270713" y="6464"/>
                  </a:lnTo>
                  <a:lnTo>
                    <a:pt x="228968" y="0"/>
                  </a:lnTo>
                  <a:lnTo>
                    <a:pt x="187223" y="6464"/>
                  </a:lnTo>
                  <a:lnTo>
                    <a:pt x="151955" y="24714"/>
                  </a:lnTo>
                  <a:lnTo>
                    <a:pt x="124790" y="53086"/>
                  </a:lnTo>
                  <a:lnTo>
                    <a:pt x="107315" y="89890"/>
                  </a:lnTo>
                  <a:lnTo>
                    <a:pt x="101130" y="133477"/>
                  </a:lnTo>
                  <a:lnTo>
                    <a:pt x="108229" y="181216"/>
                  </a:lnTo>
                  <a:lnTo>
                    <a:pt x="127546" y="224866"/>
                  </a:lnTo>
                  <a:lnTo>
                    <a:pt x="156095" y="260667"/>
                  </a:lnTo>
                  <a:lnTo>
                    <a:pt x="190893" y="284911"/>
                  </a:lnTo>
                  <a:lnTo>
                    <a:pt x="228968" y="293814"/>
                  </a:lnTo>
                  <a:lnTo>
                    <a:pt x="267589" y="285051"/>
                  </a:lnTo>
                  <a:lnTo>
                    <a:pt x="272554" y="281647"/>
                  </a:lnTo>
                  <a:lnTo>
                    <a:pt x="302450" y="261112"/>
                  </a:lnTo>
                  <a:lnTo>
                    <a:pt x="330771" y="225513"/>
                  </a:lnTo>
                  <a:lnTo>
                    <a:pt x="349796" y="181800"/>
                  </a:lnTo>
                  <a:lnTo>
                    <a:pt x="356755" y="13347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933699" y="1334324"/>
            <a:ext cx="4873625" cy="2948305"/>
          </a:xfrm>
          <a:prstGeom prst="rect">
            <a:avLst/>
          </a:prstGeom>
          <a:ln w="9524">
            <a:solidFill>
              <a:srgbClr val="1ED75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315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1800" b="1" spc="55" dirty="0">
                <a:solidFill>
                  <a:srgbClr val="FFFFFF"/>
                </a:solidFill>
                <a:latin typeface="Century Gothic"/>
                <a:cs typeface="Century Gothic"/>
              </a:rPr>
              <a:t>Learners</a:t>
            </a:r>
            <a:endParaRPr sz="1800">
              <a:latin typeface="Century Gothic"/>
              <a:cs typeface="Century Gothic"/>
            </a:endParaRPr>
          </a:p>
          <a:p>
            <a:pPr marL="262890" marR="384175">
              <a:lnSpc>
                <a:spcPct val="111600"/>
              </a:lnSpc>
              <a:spcBef>
                <a:spcPts val="1170"/>
              </a:spcBef>
            </a:pP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Observe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“learners” </a:t>
            </a:r>
            <a:r>
              <a:rPr sz="1400" spc="-70" dirty="0">
                <a:solidFill>
                  <a:srgbClr val="FFFFFF"/>
                </a:solidFill>
                <a:latin typeface="Verdana"/>
                <a:cs typeface="Verdana"/>
              </a:rPr>
              <a:t>from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diverse 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regions </a:t>
            </a:r>
            <a:r>
              <a:rPr sz="1400" spc="-30" dirty="0">
                <a:solidFill>
                  <a:srgbClr val="FFFFFF"/>
                </a:solidFill>
                <a:latin typeface="Verdana"/>
                <a:cs typeface="Verdana"/>
              </a:rPr>
              <a:t>and </a:t>
            </a:r>
            <a:r>
              <a:rPr sz="1400" spc="-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programs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Verdana"/>
                <a:cs typeface="Verdana"/>
              </a:rPr>
              <a:t>who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Verdana"/>
                <a:cs typeface="Verdana"/>
              </a:rPr>
              <a:t>use</a:t>
            </a:r>
            <a:r>
              <a:rPr sz="1400" spc="-1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Verdana"/>
                <a:cs typeface="Verdana"/>
              </a:rPr>
              <a:t>L&amp;D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platforms</a:t>
            </a:r>
            <a:r>
              <a:rPr sz="1400" spc="-1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for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Verdana"/>
                <a:cs typeface="Verdana"/>
              </a:rPr>
              <a:t>goal-directed </a:t>
            </a:r>
            <a:r>
              <a:rPr sz="1400" spc="-4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70" dirty="0">
                <a:solidFill>
                  <a:srgbClr val="FFFFFF"/>
                </a:solidFill>
                <a:latin typeface="Verdana"/>
                <a:cs typeface="Verdana"/>
              </a:rPr>
              <a:t>activities: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learning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for</a:t>
            </a:r>
            <a:r>
              <a:rPr sz="1400" spc="-1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breaking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Verdana"/>
                <a:cs typeface="Verdana"/>
              </a:rPr>
              <a:t>work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95" dirty="0">
                <a:solidFill>
                  <a:srgbClr val="FFFFFF"/>
                </a:solidFill>
                <a:latin typeface="Verdana"/>
                <a:cs typeface="Verdana"/>
              </a:rPr>
              <a:t>(Just-in-Time), </a:t>
            </a:r>
            <a:r>
              <a:rPr sz="1400" spc="-47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completion </a:t>
            </a:r>
            <a:r>
              <a:rPr sz="1400" spc="-30" dirty="0">
                <a:solidFill>
                  <a:srgbClr val="FFFFFF"/>
                </a:solidFill>
                <a:latin typeface="Verdana"/>
                <a:cs typeface="Verdana"/>
              </a:rPr>
              <a:t>of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required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training </a:t>
            </a:r>
            <a:r>
              <a:rPr sz="1400" spc="-75" dirty="0">
                <a:solidFill>
                  <a:srgbClr val="FFFFFF"/>
                </a:solidFill>
                <a:latin typeface="Verdana"/>
                <a:cs typeface="Verdana"/>
              </a:rPr>
              <a:t>(Passive/Reactive), </a:t>
            </a:r>
            <a:r>
              <a:rPr sz="1400" spc="-4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Verdana"/>
                <a:cs typeface="Verdana"/>
              </a:rPr>
              <a:t>building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8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70" dirty="0">
                <a:solidFill>
                  <a:srgbClr val="FFFFFF"/>
                </a:solidFill>
                <a:latin typeface="Verdana"/>
                <a:cs typeface="Verdana"/>
              </a:rPr>
              <a:t>xpe</a:t>
            </a:r>
            <a:r>
              <a:rPr sz="1400" spc="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tise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during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8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75" dirty="0">
                <a:solidFill>
                  <a:srgbClr val="FFFFFF"/>
                </a:solidFill>
                <a:latin typeface="Verdana"/>
                <a:cs typeface="Verdana"/>
              </a:rPr>
              <a:t>xt</a:t>
            </a:r>
            <a:r>
              <a:rPr sz="1400" spc="-8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dirty="0">
                <a:solidFill>
                  <a:srgbClr val="FFFFFF"/>
                </a:solidFill>
                <a:latin typeface="Verdana"/>
                <a:cs typeface="Verdana"/>
              </a:rPr>
              <a:t>a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75" dirty="0">
                <a:solidFill>
                  <a:srgbClr val="FFFFFF"/>
                </a:solidFill>
                <a:latin typeface="Verdana"/>
                <a:cs typeface="Verdana"/>
              </a:rPr>
              <a:t>time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75" dirty="0">
                <a:solidFill>
                  <a:srgbClr val="FFFFFF"/>
                </a:solidFill>
                <a:latin typeface="Verdana"/>
                <a:cs typeface="Verdana"/>
              </a:rPr>
              <a:t>(Leisu</a:t>
            </a:r>
            <a:r>
              <a:rPr sz="1400" spc="-8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8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180" dirty="0">
                <a:solidFill>
                  <a:srgbClr val="FFFFFF"/>
                </a:solidFill>
                <a:latin typeface="Verdana"/>
                <a:cs typeface="Verdana"/>
              </a:rPr>
              <a:t>).</a:t>
            </a:r>
            <a:endParaRPr sz="1400"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392625" y="4553049"/>
            <a:ext cx="4518660" cy="483870"/>
          </a:xfrm>
          <a:custGeom>
            <a:avLst/>
            <a:gdLst/>
            <a:ahLst/>
            <a:cxnLst/>
            <a:rect l="l" t="t" r="r" b="b"/>
            <a:pathLst>
              <a:path w="4518659" h="483870">
                <a:moveTo>
                  <a:pt x="4518299" y="0"/>
                </a:moveTo>
                <a:lnTo>
                  <a:pt x="4513610" y="47393"/>
                </a:lnTo>
                <a:lnTo>
                  <a:pt x="4499894" y="92532"/>
                </a:lnTo>
                <a:lnTo>
                  <a:pt x="4477674" y="134150"/>
                </a:lnTo>
                <a:lnTo>
                  <a:pt x="4447477" y="170978"/>
                </a:lnTo>
                <a:lnTo>
                  <a:pt x="4410650" y="201174"/>
                </a:lnTo>
                <a:lnTo>
                  <a:pt x="4369032" y="223393"/>
                </a:lnTo>
                <a:lnTo>
                  <a:pt x="4323893" y="237110"/>
                </a:lnTo>
                <a:lnTo>
                  <a:pt x="4276499" y="241799"/>
                </a:lnTo>
                <a:lnTo>
                  <a:pt x="2500949" y="241799"/>
                </a:lnTo>
                <a:lnTo>
                  <a:pt x="2452218" y="246712"/>
                </a:lnTo>
                <a:lnTo>
                  <a:pt x="2406830" y="260801"/>
                </a:lnTo>
                <a:lnTo>
                  <a:pt x="2365757" y="283095"/>
                </a:lnTo>
                <a:lnTo>
                  <a:pt x="2329971" y="312621"/>
                </a:lnTo>
                <a:lnTo>
                  <a:pt x="2300445" y="348407"/>
                </a:lnTo>
                <a:lnTo>
                  <a:pt x="2278151" y="389480"/>
                </a:lnTo>
                <a:lnTo>
                  <a:pt x="2264062" y="434868"/>
                </a:lnTo>
                <a:lnTo>
                  <a:pt x="2259149" y="483599"/>
                </a:lnTo>
                <a:lnTo>
                  <a:pt x="2254237" y="434868"/>
                </a:lnTo>
                <a:lnTo>
                  <a:pt x="2240148" y="389480"/>
                </a:lnTo>
                <a:lnTo>
                  <a:pt x="2217854" y="348407"/>
                </a:lnTo>
                <a:lnTo>
                  <a:pt x="2188328" y="312621"/>
                </a:lnTo>
                <a:lnTo>
                  <a:pt x="2152542" y="283095"/>
                </a:lnTo>
                <a:lnTo>
                  <a:pt x="2111469" y="260801"/>
                </a:lnTo>
                <a:lnTo>
                  <a:pt x="2066081" y="246712"/>
                </a:lnTo>
                <a:lnTo>
                  <a:pt x="2017349" y="241799"/>
                </a:lnTo>
                <a:lnTo>
                  <a:pt x="241799" y="241799"/>
                </a:lnTo>
                <a:lnTo>
                  <a:pt x="193068" y="236887"/>
                </a:lnTo>
                <a:lnTo>
                  <a:pt x="147680" y="222798"/>
                </a:lnTo>
                <a:lnTo>
                  <a:pt x="106607" y="200504"/>
                </a:lnTo>
                <a:lnTo>
                  <a:pt x="70821" y="170978"/>
                </a:lnTo>
                <a:lnTo>
                  <a:pt x="41295" y="135192"/>
                </a:lnTo>
                <a:lnTo>
                  <a:pt x="19001" y="94119"/>
                </a:lnTo>
                <a:lnTo>
                  <a:pt x="4912" y="48731"/>
                </a:lnTo>
                <a:lnTo>
                  <a:pt x="0" y="0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526049" y="1334324"/>
            <a:ext cx="3904615" cy="2948305"/>
          </a:xfrm>
          <a:prstGeom prst="rect">
            <a:avLst/>
          </a:prstGeom>
          <a:ln w="9524">
            <a:solidFill>
              <a:srgbClr val="1ED75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3150">
              <a:latin typeface="Times New Roman"/>
              <a:cs typeface="Times New Roman"/>
            </a:endParaRPr>
          </a:p>
          <a:p>
            <a:pPr marL="101600" algn="ctr">
              <a:lnSpc>
                <a:spcPct val="100000"/>
              </a:lnSpc>
            </a:pPr>
            <a:r>
              <a:rPr sz="1800" b="1" spc="50" dirty="0">
                <a:solidFill>
                  <a:srgbClr val="FFFFFF"/>
                </a:solidFill>
                <a:latin typeface="Century Gothic"/>
                <a:cs typeface="Century Gothic"/>
              </a:rPr>
              <a:t>Learning</a:t>
            </a:r>
            <a:r>
              <a:rPr sz="1800" b="1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800" b="1" spc="35" dirty="0">
                <a:solidFill>
                  <a:srgbClr val="FFFFFF"/>
                </a:solidFill>
                <a:latin typeface="Century Gothic"/>
                <a:cs typeface="Century Gothic"/>
              </a:rPr>
              <a:t>Coordinators</a:t>
            </a:r>
            <a:endParaRPr sz="1800">
              <a:latin typeface="Century Gothic"/>
              <a:cs typeface="Century Gothic"/>
            </a:endParaRPr>
          </a:p>
          <a:p>
            <a:pPr marL="399415" marR="306070">
              <a:lnSpc>
                <a:spcPct val="111600"/>
              </a:lnSpc>
              <a:spcBef>
                <a:spcPts val="1325"/>
              </a:spcBef>
            </a:pP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Obse</a:t>
            </a:r>
            <a:r>
              <a:rPr sz="1400" spc="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9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400" spc="-7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Verdana"/>
                <a:cs typeface="Verdana"/>
              </a:rPr>
              <a:t>Learning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35" dirty="0">
                <a:solidFill>
                  <a:srgbClr val="FFFFFF"/>
                </a:solidFill>
                <a:latin typeface="Verdana"/>
                <a:cs typeface="Verdana"/>
              </a:rPr>
              <a:t>C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oo</a:t>
            </a:r>
            <a:r>
              <a:rPr sz="1400" spc="-6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45" dirty="0">
                <a:solidFill>
                  <a:srgbClr val="FFFFFF"/>
                </a:solidFill>
                <a:latin typeface="Verdana"/>
                <a:cs typeface="Verdana"/>
              </a:rPr>
              <a:t>dinato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3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170" dirty="0">
                <a:solidFill>
                  <a:srgbClr val="FFFFFF"/>
                </a:solidFill>
                <a:latin typeface="Verdana"/>
                <a:cs typeface="Verdana"/>
              </a:rPr>
              <a:t>(</a:t>
            </a:r>
            <a:r>
              <a:rPr sz="1400" spc="-40" dirty="0">
                <a:solidFill>
                  <a:srgbClr val="FFFFFF"/>
                </a:solidFill>
                <a:latin typeface="Verdana"/>
                <a:cs typeface="Verdana"/>
              </a:rPr>
              <a:t>“</a:t>
            </a:r>
            <a:r>
              <a:rPr sz="1400" spc="-10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400" spc="-35" dirty="0">
                <a:solidFill>
                  <a:srgbClr val="FFFFFF"/>
                </a:solidFill>
                <a:latin typeface="Verdana"/>
                <a:cs typeface="Verdana"/>
              </a:rPr>
              <a:t>C</a:t>
            </a:r>
            <a:r>
              <a:rPr sz="1400" spc="-8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400" spc="-60" dirty="0">
                <a:solidFill>
                  <a:srgbClr val="FFFFFF"/>
                </a:solidFill>
                <a:latin typeface="Verdana"/>
                <a:cs typeface="Verdana"/>
              </a:rPr>
              <a:t>”</a:t>
            </a:r>
            <a:r>
              <a:rPr sz="1400" spc="-155" dirty="0">
                <a:solidFill>
                  <a:srgbClr val="FFFFFF"/>
                </a:solidFill>
                <a:latin typeface="Verdana"/>
                <a:cs typeface="Verdana"/>
              </a:rPr>
              <a:t>)  </a:t>
            </a:r>
            <a:r>
              <a:rPr sz="1400" spc="-10" dirty="0">
                <a:solidFill>
                  <a:srgbClr val="FFFFFF"/>
                </a:solidFill>
                <a:latin typeface="Verdana"/>
                <a:cs typeface="Verdana"/>
              </a:rPr>
              <a:t>who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up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8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400" spc="-95" dirty="0">
                <a:solidFill>
                  <a:srgbClr val="FFFFFF"/>
                </a:solidFill>
                <a:latin typeface="Verdana"/>
                <a:cs typeface="Verdana"/>
              </a:rPr>
              <a:t>x</a:t>
            </a:r>
            <a:r>
              <a:rPr sz="1400" spc="-60" dirty="0">
                <a:solidFill>
                  <a:srgbClr val="FFFFFF"/>
                </a:solidFill>
                <a:latin typeface="Verdana"/>
                <a:cs typeface="Verdana"/>
              </a:rPr>
              <a:t>ecute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400" spc="-45" dirty="0">
                <a:solidFill>
                  <a:srgbClr val="FFFFFF"/>
                </a:solidFill>
                <a:latin typeface="Verdana"/>
                <a:cs typeface="Verdana"/>
              </a:rPr>
              <a:t>eedback 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400" spc="-6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50" dirty="0">
                <a:solidFill>
                  <a:srgbClr val="FFFFFF"/>
                </a:solidFill>
                <a:latin typeface="Verdana"/>
                <a:cs typeface="Verdana"/>
              </a:rPr>
              <a:t>ocesses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15" dirty="0">
                <a:solidFill>
                  <a:srgbClr val="FFFFFF"/>
                </a:solidFill>
                <a:latin typeface="Verdana"/>
                <a:cs typeface="Verdana"/>
              </a:rPr>
              <a:t>as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Verdana"/>
                <a:cs typeface="Verdana"/>
              </a:rPr>
              <a:t>pa</a:t>
            </a:r>
            <a:r>
              <a:rPr sz="1400" spc="2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400" spc="-5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Verdana"/>
                <a:cs typeface="Verdana"/>
              </a:rPr>
              <a:t>of</a:t>
            </a:r>
            <a:r>
              <a:rPr sz="1400" spc="-1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Verdana"/>
                <a:cs typeface="Verdana"/>
              </a:rPr>
              <a:t>managing  </a:t>
            </a:r>
            <a:r>
              <a:rPr sz="1400" spc="-65" dirty="0">
                <a:solidFill>
                  <a:srgbClr val="FFFFFF"/>
                </a:solidFill>
                <a:latin typeface="Verdana"/>
                <a:cs typeface="Verdana"/>
              </a:rPr>
              <a:t>training.</a:t>
            </a:r>
            <a:endParaRPr sz="1400">
              <a:latin typeface="Verdana"/>
              <a:cs typeface="Verdana"/>
            </a:endParaRPr>
          </a:p>
        </p:txBody>
      </p:sp>
      <p:pic>
        <p:nvPicPr>
          <p:cNvPr id="17" name="object 1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969400" y="1353950"/>
            <a:ext cx="1119500" cy="1119500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2715650" y="5072286"/>
            <a:ext cx="5914390" cy="8451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sz="1600" b="1" spc="20" dirty="0">
                <a:solidFill>
                  <a:srgbClr val="FFFFFF"/>
                </a:solidFill>
                <a:latin typeface="Century Gothic"/>
                <a:cs typeface="Century Gothic"/>
              </a:rPr>
              <a:t>Help </a:t>
            </a:r>
            <a:r>
              <a:rPr sz="1600" b="1" spc="25" dirty="0">
                <a:solidFill>
                  <a:srgbClr val="FFFFFF"/>
                </a:solidFill>
                <a:latin typeface="Century Gothic"/>
                <a:cs typeface="Century Gothic"/>
              </a:rPr>
              <a:t>the </a:t>
            </a:r>
            <a:r>
              <a:rPr sz="1600" b="1" spc="190" dirty="0">
                <a:solidFill>
                  <a:srgbClr val="FFFFFF"/>
                </a:solidFill>
                <a:latin typeface="Century Gothic"/>
                <a:cs typeface="Century Gothic"/>
              </a:rPr>
              <a:t>HR </a:t>
            </a:r>
            <a:r>
              <a:rPr sz="1600" b="1" spc="55" dirty="0">
                <a:solidFill>
                  <a:srgbClr val="FFFFFF"/>
                </a:solidFill>
                <a:latin typeface="Century Gothic"/>
                <a:cs typeface="Century Gothic"/>
              </a:rPr>
              <a:t>tribe </a:t>
            </a:r>
            <a:r>
              <a:rPr sz="1600" b="1" spc="75" dirty="0">
                <a:solidFill>
                  <a:srgbClr val="FFFFFF"/>
                </a:solidFill>
                <a:latin typeface="Century Gothic"/>
                <a:cs typeface="Century Gothic"/>
              </a:rPr>
              <a:t>at </a:t>
            </a:r>
            <a:r>
              <a:rPr sz="1600" b="1" spc="-45" dirty="0">
                <a:solidFill>
                  <a:srgbClr val="FFFFFF"/>
                </a:solidFill>
                <a:latin typeface="Century Gothic"/>
                <a:cs typeface="Century Gothic"/>
              </a:rPr>
              <a:t>BCG </a:t>
            </a:r>
            <a:r>
              <a:rPr sz="16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better understand </a:t>
            </a:r>
            <a:r>
              <a:rPr sz="16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the </a:t>
            </a:r>
            <a:r>
              <a:rPr sz="1600" b="1" spc="50" dirty="0">
                <a:solidFill>
                  <a:srgbClr val="1ED75F"/>
                </a:solidFill>
                <a:latin typeface="Century Gothic"/>
                <a:cs typeface="Century Gothic"/>
              </a:rPr>
              <a:t>“whys” </a:t>
            </a:r>
            <a:r>
              <a:rPr sz="16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600" b="1" spc="95" dirty="0">
                <a:solidFill>
                  <a:srgbClr val="1ED75F"/>
                </a:solidFill>
                <a:latin typeface="Century Gothic"/>
                <a:cs typeface="Century Gothic"/>
              </a:rPr>
              <a:t>that </a:t>
            </a:r>
            <a:r>
              <a:rPr sz="16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are </a:t>
            </a:r>
            <a:r>
              <a:rPr sz="1600" b="1" spc="45" dirty="0">
                <a:solidFill>
                  <a:srgbClr val="1ED75F"/>
                </a:solidFill>
                <a:latin typeface="Century Gothic"/>
                <a:cs typeface="Century Gothic"/>
              </a:rPr>
              <a:t>driving </a:t>
            </a:r>
            <a:r>
              <a:rPr sz="1600" b="1" spc="-65" dirty="0">
                <a:solidFill>
                  <a:srgbClr val="1ED75F"/>
                </a:solidFill>
                <a:latin typeface="Century Gothic"/>
                <a:cs typeface="Century Gothic"/>
              </a:rPr>
              <a:t>employee </a:t>
            </a:r>
            <a:r>
              <a:rPr sz="16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feedback </a:t>
            </a:r>
            <a:r>
              <a:rPr sz="1600" b="1" spc="10" dirty="0">
                <a:solidFill>
                  <a:srgbClr val="FFFFFF"/>
                </a:solidFill>
                <a:latin typeface="Century Gothic"/>
                <a:cs typeface="Century Gothic"/>
              </a:rPr>
              <a:t>related </a:t>
            </a:r>
            <a:r>
              <a:rPr sz="1600" b="1" spc="75" dirty="0">
                <a:solidFill>
                  <a:srgbClr val="FFFFFF"/>
                </a:solidFill>
                <a:latin typeface="Century Gothic"/>
                <a:cs typeface="Century Gothic"/>
              </a:rPr>
              <a:t>to </a:t>
            </a:r>
            <a:r>
              <a:rPr sz="1600" b="1" spc="25" dirty="0">
                <a:solidFill>
                  <a:srgbClr val="FFFFFF"/>
                </a:solidFill>
                <a:latin typeface="Century Gothic"/>
                <a:cs typeface="Century Gothic"/>
              </a:rPr>
              <a:t>the learning </a:t>
            </a:r>
            <a:r>
              <a:rPr sz="1600" b="1" spc="-434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Century Gothic"/>
                <a:cs typeface="Century Gothic"/>
              </a:rPr>
              <a:t>experience</a:t>
            </a:r>
            <a:r>
              <a:rPr sz="1600" b="1" spc="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(i.e.,</a:t>
            </a:r>
            <a:r>
              <a:rPr sz="1600" b="1" spc="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65" dirty="0">
                <a:solidFill>
                  <a:srgbClr val="FFFFFF"/>
                </a:solidFill>
                <a:latin typeface="Century Gothic"/>
                <a:cs typeface="Century Gothic"/>
              </a:rPr>
              <a:t>root</a:t>
            </a:r>
            <a:r>
              <a:rPr sz="1600" b="1" spc="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Century Gothic"/>
                <a:cs typeface="Century Gothic"/>
              </a:rPr>
              <a:t>cause</a:t>
            </a:r>
            <a:r>
              <a:rPr sz="1600" b="1" spc="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30" dirty="0">
                <a:solidFill>
                  <a:srgbClr val="FFFFFF"/>
                </a:solidFill>
                <a:latin typeface="Century Gothic"/>
                <a:cs typeface="Century Gothic"/>
              </a:rPr>
              <a:t>analysis).</a:t>
            </a:r>
            <a:endParaRPr sz="1600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938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4</a:t>
            </a:fld>
            <a:endParaRPr spc="-3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11973560" cy="6637655"/>
            <a:chOff x="0" y="0"/>
            <a:chExt cx="11973560" cy="6637655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1972999" cy="6637499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0" y="0"/>
              <a:ext cx="11972290" cy="6633845"/>
            </a:xfrm>
            <a:custGeom>
              <a:avLst/>
              <a:gdLst/>
              <a:ahLst/>
              <a:cxnLst/>
              <a:rect l="l" t="t" r="r" b="b"/>
              <a:pathLst>
                <a:path w="11972290" h="6633845">
                  <a:moveTo>
                    <a:pt x="11972099" y="6633299"/>
                  </a:moveTo>
                  <a:lnTo>
                    <a:pt x="0" y="6633299"/>
                  </a:lnTo>
                  <a:lnTo>
                    <a:pt x="0" y="0"/>
                  </a:lnTo>
                  <a:lnTo>
                    <a:pt x="11972099" y="0"/>
                  </a:lnTo>
                  <a:lnTo>
                    <a:pt x="11972099" y="6633299"/>
                  </a:lnTo>
                  <a:close/>
                </a:path>
              </a:pathLst>
            </a:custGeom>
            <a:solidFill>
              <a:srgbClr val="000000">
                <a:alpha val="6077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98674" y="2679946"/>
            <a:ext cx="4142104" cy="1455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7130"/>
              </a:lnSpc>
              <a:spcBef>
                <a:spcPts val="100"/>
              </a:spcBef>
            </a:pPr>
            <a:r>
              <a:rPr sz="6100" spc="185" dirty="0"/>
              <a:t>Learners</a:t>
            </a:r>
            <a:endParaRPr sz="6100"/>
          </a:p>
          <a:p>
            <a:pPr marL="12700">
              <a:lnSpc>
                <a:spcPts val="4130"/>
              </a:lnSpc>
            </a:pPr>
            <a:r>
              <a:rPr sz="3600" b="0" spc="-210" dirty="0">
                <a:latin typeface="Verdana"/>
                <a:cs typeface="Verdana"/>
              </a:rPr>
              <a:t>E</a:t>
            </a:r>
            <a:r>
              <a:rPr sz="3600" b="0" spc="-229" dirty="0">
                <a:latin typeface="Verdana"/>
                <a:cs typeface="Verdana"/>
              </a:rPr>
              <a:t>x</a:t>
            </a:r>
            <a:r>
              <a:rPr sz="3600" b="0" spc="-185" dirty="0">
                <a:latin typeface="Verdana"/>
                <a:cs typeface="Verdana"/>
              </a:rPr>
              <a:t>ecuti</a:t>
            </a:r>
            <a:r>
              <a:rPr sz="3600" b="0" spc="-245" dirty="0">
                <a:latin typeface="Verdana"/>
                <a:cs typeface="Verdana"/>
              </a:rPr>
              <a:t>v</a:t>
            </a:r>
            <a:r>
              <a:rPr sz="3600" b="0" spc="-195" dirty="0">
                <a:latin typeface="Verdana"/>
                <a:cs typeface="Verdana"/>
              </a:rPr>
              <a:t>e</a:t>
            </a:r>
            <a:r>
              <a:rPr sz="3600" b="0" spc="-350" dirty="0">
                <a:latin typeface="Verdana"/>
                <a:cs typeface="Verdana"/>
              </a:rPr>
              <a:t> </a:t>
            </a:r>
            <a:r>
              <a:rPr sz="3600" b="0" spc="-280" dirty="0">
                <a:latin typeface="Verdana"/>
                <a:cs typeface="Verdana"/>
              </a:rPr>
              <a:t>Summa</a:t>
            </a:r>
            <a:r>
              <a:rPr sz="3600" b="0" spc="-50" dirty="0">
                <a:latin typeface="Verdana"/>
                <a:cs typeface="Verdana"/>
              </a:rPr>
              <a:t>r</a:t>
            </a:r>
            <a:r>
              <a:rPr sz="3600" b="0" spc="-245" dirty="0">
                <a:latin typeface="Verdana"/>
                <a:cs typeface="Verdana"/>
              </a:rPr>
              <a:t>y</a:t>
            </a:r>
            <a:endParaRPr sz="3600"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27374" y="271526"/>
            <a:ext cx="10222865" cy="825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4100"/>
              </a:lnSpc>
              <a:spcBef>
                <a:spcPts val="100"/>
              </a:spcBef>
            </a:pPr>
            <a:r>
              <a:rPr sz="2300" spc="110" dirty="0">
                <a:solidFill>
                  <a:srgbClr val="1ED65F"/>
                </a:solidFill>
              </a:rPr>
              <a:t>Root</a:t>
            </a:r>
            <a:r>
              <a:rPr sz="2300" spc="20" dirty="0">
                <a:solidFill>
                  <a:srgbClr val="1ED65F"/>
                </a:solidFill>
              </a:rPr>
              <a:t> </a:t>
            </a:r>
            <a:r>
              <a:rPr sz="2300" spc="-60" dirty="0">
                <a:solidFill>
                  <a:srgbClr val="1ED65F"/>
                </a:solidFill>
              </a:rPr>
              <a:t>Cause</a:t>
            </a:r>
            <a:r>
              <a:rPr sz="2300" spc="25" dirty="0">
                <a:solidFill>
                  <a:srgbClr val="1ED65F"/>
                </a:solidFill>
              </a:rPr>
              <a:t> </a:t>
            </a:r>
            <a:r>
              <a:rPr sz="2300" spc="-680" dirty="0">
                <a:solidFill>
                  <a:srgbClr val="1ED65F"/>
                </a:solidFill>
              </a:rPr>
              <a:t>|</a:t>
            </a:r>
            <a:r>
              <a:rPr sz="2300" spc="15" dirty="0">
                <a:solidFill>
                  <a:srgbClr val="1ED65F"/>
                </a:solidFill>
              </a:rPr>
              <a:t> </a:t>
            </a:r>
            <a:r>
              <a:rPr sz="2300" spc="10" dirty="0">
                <a:solidFill>
                  <a:srgbClr val="191C19"/>
                </a:solidFill>
              </a:rPr>
              <a:t>Overall,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30" dirty="0">
                <a:solidFill>
                  <a:srgbClr val="191C19"/>
                </a:solidFill>
              </a:rPr>
              <a:t>there</a:t>
            </a:r>
            <a:r>
              <a:rPr sz="2300" spc="20" dirty="0">
                <a:solidFill>
                  <a:srgbClr val="191C19"/>
                </a:solidFill>
              </a:rPr>
              <a:t> </a:t>
            </a:r>
            <a:r>
              <a:rPr sz="2300" spc="130" dirty="0">
                <a:solidFill>
                  <a:srgbClr val="191C19"/>
                </a:solidFill>
              </a:rPr>
              <a:t>is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-40" dirty="0">
                <a:solidFill>
                  <a:srgbClr val="191C19"/>
                </a:solidFill>
              </a:rPr>
              <a:t>a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-35" dirty="0">
                <a:solidFill>
                  <a:srgbClr val="191C19"/>
                </a:solidFill>
              </a:rPr>
              <a:t>gap</a:t>
            </a:r>
            <a:r>
              <a:rPr sz="2300" spc="20" dirty="0">
                <a:solidFill>
                  <a:srgbClr val="191C19"/>
                </a:solidFill>
              </a:rPr>
              <a:t> </a:t>
            </a:r>
            <a:r>
              <a:rPr sz="2300" spc="-20" dirty="0">
                <a:solidFill>
                  <a:srgbClr val="191C19"/>
                </a:solidFill>
              </a:rPr>
              <a:t>between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125" dirty="0">
                <a:solidFill>
                  <a:srgbClr val="191C19"/>
                </a:solidFill>
              </a:rPr>
              <a:t>what</a:t>
            </a:r>
            <a:r>
              <a:rPr sz="2300" spc="20" dirty="0">
                <a:solidFill>
                  <a:srgbClr val="191C19"/>
                </a:solidFill>
              </a:rPr>
              <a:t> </a:t>
            </a:r>
            <a:r>
              <a:rPr sz="2300" spc="45" dirty="0">
                <a:solidFill>
                  <a:srgbClr val="191C19"/>
                </a:solidFill>
              </a:rPr>
              <a:t>learners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-75" dirty="0">
                <a:solidFill>
                  <a:srgbClr val="191C19"/>
                </a:solidFill>
              </a:rPr>
              <a:t>expect</a:t>
            </a:r>
            <a:r>
              <a:rPr sz="2300" spc="25" dirty="0">
                <a:solidFill>
                  <a:srgbClr val="191C19"/>
                </a:solidFill>
              </a:rPr>
              <a:t> </a:t>
            </a:r>
            <a:r>
              <a:rPr sz="2300" spc="-10" dirty="0">
                <a:solidFill>
                  <a:srgbClr val="191C19"/>
                </a:solidFill>
              </a:rPr>
              <a:t>and </a:t>
            </a:r>
            <a:r>
              <a:rPr sz="2300" spc="-630" dirty="0">
                <a:solidFill>
                  <a:srgbClr val="191C19"/>
                </a:solidFill>
              </a:rPr>
              <a:t> </a:t>
            </a:r>
            <a:r>
              <a:rPr sz="2300" spc="125" dirty="0">
                <a:solidFill>
                  <a:srgbClr val="191C19"/>
                </a:solidFill>
              </a:rPr>
              <a:t>what</a:t>
            </a:r>
            <a:r>
              <a:rPr sz="2300" spc="15" dirty="0">
                <a:solidFill>
                  <a:srgbClr val="191C19"/>
                </a:solidFill>
              </a:rPr>
              <a:t> </a:t>
            </a:r>
            <a:r>
              <a:rPr sz="2300" spc="-60" dirty="0">
                <a:solidFill>
                  <a:srgbClr val="191C19"/>
                </a:solidFill>
              </a:rPr>
              <a:t>BCG</a:t>
            </a:r>
            <a:r>
              <a:rPr sz="2300" spc="20" dirty="0">
                <a:solidFill>
                  <a:srgbClr val="191C19"/>
                </a:solidFill>
              </a:rPr>
              <a:t> </a:t>
            </a:r>
            <a:r>
              <a:rPr sz="2300" spc="10" dirty="0">
                <a:solidFill>
                  <a:srgbClr val="191C19"/>
                </a:solidFill>
              </a:rPr>
              <a:t>delivers.</a:t>
            </a:r>
            <a:endParaRPr sz="2300"/>
          </a:p>
        </p:txBody>
      </p:sp>
      <p:sp>
        <p:nvSpPr>
          <p:cNvPr id="5" name="object 5"/>
          <p:cNvSpPr txBox="1"/>
          <p:nvPr/>
        </p:nvSpPr>
        <p:spPr>
          <a:xfrm>
            <a:off x="735079" y="3312178"/>
            <a:ext cx="2776855" cy="1359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3970" algn="ctr">
              <a:lnSpc>
                <a:spcPct val="109400"/>
              </a:lnSpc>
              <a:spcBef>
                <a:spcPts val="100"/>
              </a:spcBef>
            </a:pPr>
            <a:r>
              <a:rPr sz="2000" spc="-65" dirty="0">
                <a:solidFill>
                  <a:srgbClr val="212721"/>
                </a:solidFill>
                <a:latin typeface="Verdana"/>
                <a:cs typeface="Verdana"/>
              </a:rPr>
              <a:t>“Help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150" dirty="0">
                <a:solidFill>
                  <a:srgbClr val="212721"/>
                </a:solidFill>
                <a:latin typeface="Verdana"/>
                <a:cs typeface="Verdana"/>
              </a:rPr>
              <a:t>me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114" dirty="0">
                <a:solidFill>
                  <a:srgbClr val="212721"/>
                </a:solidFill>
                <a:latin typeface="Verdana"/>
                <a:cs typeface="Verdana"/>
              </a:rPr>
              <a:t>ﬁnd,  </a:t>
            </a:r>
            <a:r>
              <a:rPr sz="2000" spc="-90" dirty="0">
                <a:solidFill>
                  <a:srgbClr val="212721"/>
                </a:solidFill>
                <a:latin typeface="Verdana"/>
                <a:cs typeface="Verdana"/>
              </a:rPr>
              <a:t>compa</a:t>
            </a:r>
            <a:r>
              <a:rPr sz="2000" spc="-80" dirty="0">
                <a:solidFill>
                  <a:srgbClr val="212721"/>
                </a:solidFill>
                <a:latin typeface="Verdana"/>
                <a:cs typeface="Verdana"/>
              </a:rPr>
              <a:t>r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e, </a:t>
            </a:r>
            <a:r>
              <a:rPr sz="2000" spc="-90" dirty="0">
                <a:solidFill>
                  <a:srgbClr val="212721"/>
                </a:solidFill>
                <a:latin typeface="Verdana"/>
                <a:cs typeface="Verdana"/>
              </a:rPr>
              <a:t>consume  </a:t>
            </a:r>
            <a:r>
              <a:rPr sz="2000" spc="-75" dirty="0">
                <a:solidFill>
                  <a:srgbClr val="212721"/>
                </a:solidFill>
                <a:latin typeface="Verdana"/>
                <a:cs typeface="Verdana"/>
              </a:rPr>
              <a:t>in</a:t>
            </a:r>
            <a:r>
              <a:rPr sz="2000" spc="-70" dirty="0">
                <a:solidFill>
                  <a:srgbClr val="212721"/>
                </a:solidFill>
                <a:latin typeface="Verdana"/>
                <a:cs typeface="Verdana"/>
              </a:rPr>
              <a:t>f</a:t>
            </a:r>
            <a:r>
              <a:rPr sz="2000" spc="-90" dirty="0">
                <a:solidFill>
                  <a:srgbClr val="212721"/>
                </a:solidFill>
                <a:latin typeface="Verdana"/>
                <a:cs typeface="Verdana"/>
              </a:rPr>
              <a:t>ormation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80" dirty="0">
                <a:solidFill>
                  <a:srgbClr val="212721"/>
                </a:solidFill>
                <a:latin typeface="Verdana"/>
                <a:cs typeface="Verdana"/>
              </a:rPr>
              <a:t>to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80" dirty="0">
                <a:solidFill>
                  <a:srgbClr val="212721"/>
                </a:solidFill>
                <a:latin typeface="Verdana"/>
                <a:cs typeface="Verdana"/>
              </a:rPr>
              <a:t>bring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110" dirty="0">
                <a:solidFill>
                  <a:srgbClr val="212721"/>
                </a:solidFill>
                <a:latin typeface="Verdana"/>
                <a:cs typeface="Verdana"/>
              </a:rPr>
              <a:t>me  </a:t>
            </a:r>
            <a:r>
              <a:rPr sz="2000" spc="-80" dirty="0">
                <a:solidFill>
                  <a:srgbClr val="212721"/>
                </a:solidFill>
                <a:latin typeface="Verdana"/>
                <a:cs typeface="Verdana"/>
              </a:rPr>
              <a:t>up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80" dirty="0">
                <a:solidFill>
                  <a:srgbClr val="212721"/>
                </a:solidFill>
                <a:latin typeface="Verdana"/>
                <a:cs typeface="Verdana"/>
              </a:rPr>
              <a:t>to</a:t>
            </a:r>
            <a:r>
              <a:rPr sz="2000" spc="-185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spc="-70" dirty="0">
                <a:solidFill>
                  <a:srgbClr val="212721"/>
                </a:solidFill>
                <a:latin typeface="Verdana"/>
                <a:cs typeface="Verdana"/>
              </a:rPr>
              <a:t>speed</a:t>
            </a:r>
            <a:r>
              <a:rPr sz="2000" spc="-190" dirty="0">
                <a:solidFill>
                  <a:srgbClr val="212721"/>
                </a:solidFill>
                <a:latin typeface="Verdana"/>
                <a:cs typeface="Verdana"/>
              </a:rPr>
              <a:t> </a:t>
            </a:r>
            <a:r>
              <a:rPr sz="2000" b="1" dirty="0">
                <a:solidFill>
                  <a:srgbClr val="212721"/>
                </a:solidFill>
                <a:latin typeface="Century Gothic"/>
                <a:cs typeface="Century Gothic"/>
              </a:rPr>
              <a:t>n</a:t>
            </a:r>
            <a:r>
              <a:rPr sz="2000" b="1" spc="-25" dirty="0">
                <a:solidFill>
                  <a:srgbClr val="212721"/>
                </a:solidFill>
                <a:latin typeface="Century Gothic"/>
                <a:cs typeface="Century Gothic"/>
              </a:rPr>
              <a:t>o</a:t>
            </a:r>
            <a:r>
              <a:rPr sz="2000" b="1" spc="195" dirty="0">
                <a:solidFill>
                  <a:srgbClr val="212721"/>
                </a:solidFill>
                <a:latin typeface="Century Gothic"/>
                <a:cs typeface="Century Gothic"/>
              </a:rPr>
              <a:t>w</a:t>
            </a:r>
            <a:r>
              <a:rPr sz="2000" spc="-375" dirty="0">
                <a:solidFill>
                  <a:srgbClr val="212721"/>
                </a:solidFill>
                <a:latin typeface="Verdana"/>
                <a:cs typeface="Verdana"/>
              </a:rPr>
              <a:t>.</a:t>
            </a:r>
            <a:r>
              <a:rPr sz="2000" spc="-120" dirty="0">
                <a:solidFill>
                  <a:srgbClr val="212721"/>
                </a:solidFill>
                <a:latin typeface="Verdana"/>
                <a:cs typeface="Verdana"/>
              </a:rPr>
              <a:t>”</a:t>
            </a:r>
            <a:endParaRPr sz="2000">
              <a:latin typeface="Verdana"/>
              <a:cs typeface="Verdana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591159" y="2120090"/>
            <a:ext cx="417750" cy="417765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73560" y="2120091"/>
            <a:ext cx="435951" cy="404829"/>
          </a:xfrm>
          <a:prstGeom prst="rect">
            <a:avLst/>
          </a:prstGeom>
        </p:spPr>
      </p:pic>
      <p:grpSp>
        <p:nvGrpSpPr>
          <p:cNvPr id="8" name="object 8"/>
          <p:cNvGrpSpPr/>
          <p:nvPr/>
        </p:nvGrpSpPr>
        <p:grpSpPr>
          <a:xfrm>
            <a:off x="4444470" y="2098151"/>
            <a:ext cx="749935" cy="461645"/>
            <a:chOff x="4444470" y="2098151"/>
            <a:chExt cx="749935" cy="461645"/>
          </a:xfrm>
        </p:grpSpPr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44470" y="2345411"/>
              <a:ext cx="749627" cy="214189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468268" y="2098151"/>
              <a:ext cx="712077" cy="239941"/>
            </a:xfrm>
            <a:prstGeom prst="rect">
              <a:avLst/>
            </a:prstGeom>
          </p:spPr>
        </p:pic>
      </p:grpSp>
      <p:sp>
        <p:nvSpPr>
          <p:cNvPr id="11" name="object 11"/>
          <p:cNvSpPr txBox="1"/>
          <p:nvPr/>
        </p:nvSpPr>
        <p:spPr>
          <a:xfrm>
            <a:off x="4423371" y="2849938"/>
            <a:ext cx="3295015" cy="2508250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60960">
              <a:lnSpc>
                <a:spcPct val="100000"/>
              </a:lnSpc>
              <a:spcBef>
                <a:spcPts val="1075"/>
              </a:spcBef>
            </a:pPr>
            <a:r>
              <a:rPr sz="1800" b="1" spc="170" dirty="0">
                <a:solidFill>
                  <a:srgbClr val="212721"/>
                </a:solidFill>
                <a:latin typeface="Century Gothic"/>
                <a:cs typeface="Century Gothic"/>
              </a:rPr>
              <a:t>LEARNERS</a:t>
            </a:r>
            <a:r>
              <a:rPr sz="1800" b="1" spc="-5" dirty="0">
                <a:solidFill>
                  <a:srgbClr val="212721"/>
                </a:solidFill>
                <a:latin typeface="Century Gothic"/>
                <a:cs typeface="Century Gothic"/>
              </a:rPr>
              <a:t> </a:t>
            </a:r>
            <a:r>
              <a:rPr sz="1800" b="1" spc="105" dirty="0">
                <a:solidFill>
                  <a:srgbClr val="212721"/>
                </a:solidFill>
                <a:latin typeface="Century Gothic"/>
                <a:cs typeface="Century Gothic"/>
              </a:rPr>
              <a:t>EXPECT:</a:t>
            </a:r>
            <a:endParaRPr sz="1800">
              <a:latin typeface="Century Gothic"/>
              <a:cs typeface="Century Gothic"/>
            </a:endParaRPr>
          </a:p>
          <a:p>
            <a:pPr marL="244475" indent="-232410">
              <a:lnSpc>
                <a:spcPct val="100000"/>
              </a:lnSpc>
              <a:spcBef>
                <a:spcPts val="87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Expedient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25A5A"/>
                </a:solidFill>
                <a:latin typeface="Verdana"/>
                <a:cs typeface="Verdana"/>
              </a:rPr>
              <a:t>sear</a:t>
            </a:r>
            <a:r>
              <a:rPr sz="1600" spc="-60" dirty="0">
                <a:solidFill>
                  <a:srgbClr val="525A5A"/>
                </a:solidFill>
                <a:latin typeface="Verdana"/>
                <a:cs typeface="Verdana"/>
              </a:rPr>
              <a:t>ch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2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65" dirty="0">
                <a:solidFill>
                  <a:srgbClr val="525A5A"/>
                </a:solidFill>
                <a:latin typeface="Verdana"/>
                <a:cs typeface="Verdana"/>
              </a:rPr>
              <a:t>esults</a:t>
            </a:r>
            <a:endParaRPr sz="1600">
              <a:latin typeface="Verdana"/>
              <a:cs typeface="Verdana"/>
            </a:endParaRPr>
          </a:p>
          <a:p>
            <a:pPr marL="244475" marR="1356995" indent="-232410">
              <a:lnSpc>
                <a:spcPts val="1540"/>
              </a:lnSpc>
              <a:spcBef>
                <a:spcPts val="112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50" dirty="0">
                <a:solidFill>
                  <a:srgbClr val="525A5A"/>
                </a:solidFill>
                <a:latin typeface="Verdana"/>
                <a:cs typeface="Verdana"/>
              </a:rPr>
              <a:t>Personalized </a:t>
            </a:r>
            <a:r>
              <a:rPr sz="1600" spc="-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2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ecommendations</a:t>
            </a:r>
            <a:endParaRPr sz="1600">
              <a:latin typeface="Verdana"/>
              <a:cs typeface="Verdana"/>
            </a:endParaRPr>
          </a:p>
          <a:p>
            <a:pPr marL="244475" marR="5080" indent="-232410">
              <a:lnSpc>
                <a:spcPts val="1540"/>
              </a:lnSpc>
              <a:spcBef>
                <a:spcPts val="103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45" dirty="0">
                <a:solidFill>
                  <a:srgbClr val="525A5A"/>
                </a:solidFill>
                <a:latin typeface="Verdana"/>
                <a:cs typeface="Verdana"/>
              </a:rPr>
              <a:t>Most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80" dirty="0">
                <a:solidFill>
                  <a:srgbClr val="525A5A"/>
                </a:solidFill>
                <a:latin typeface="Verdana"/>
                <a:cs typeface="Verdana"/>
              </a:rPr>
              <a:t>referenced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75" dirty="0">
                <a:solidFill>
                  <a:srgbClr val="525A5A"/>
                </a:solidFill>
                <a:latin typeface="Verdana"/>
                <a:cs typeface="Verdana"/>
              </a:rPr>
              <a:t>result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30" dirty="0">
                <a:solidFill>
                  <a:srgbClr val="525A5A"/>
                </a:solidFill>
                <a:latin typeface="Verdana"/>
                <a:cs typeface="Verdana"/>
              </a:rPr>
              <a:t>show</a:t>
            </a:r>
            <a:r>
              <a:rPr sz="1600" spc="-1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25A5A"/>
                </a:solidFill>
                <a:latin typeface="Verdana"/>
                <a:cs typeface="Verdana"/>
              </a:rPr>
              <a:t>up </a:t>
            </a:r>
            <a:r>
              <a:rPr sz="1600" spc="-55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80" dirty="0">
                <a:solidFill>
                  <a:srgbClr val="525A5A"/>
                </a:solidFill>
                <a:latin typeface="Verdana"/>
                <a:cs typeface="Verdana"/>
              </a:rPr>
              <a:t>ﬁrst</a:t>
            </a:r>
            <a:endParaRPr sz="1600">
              <a:latin typeface="Verdana"/>
              <a:cs typeface="Verdana"/>
            </a:endParaRPr>
          </a:p>
          <a:p>
            <a:pPr marL="244475" indent="-232410">
              <a:lnSpc>
                <a:spcPct val="100000"/>
              </a:lnSpc>
              <a:spcBef>
                <a:spcPts val="685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60" dirty="0">
                <a:solidFill>
                  <a:srgbClr val="525A5A"/>
                </a:solidFill>
                <a:latin typeface="Verdana"/>
                <a:cs typeface="Verdana"/>
              </a:rPr>
              <a:t>Mar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k</a:t>
            </a:r>
            <a:r>
              <a:rPr sz="1600" spc="-110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600" spc="-9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40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6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40" dirty="0">
                <a:solidFill>
                  <a:srgbClr val="525A5A"/>
                </a:solidFill>
                <a:latin typeface="Verdana"/>
                <a:cs typeface="Verdana"/>
              </a:rPr>
              <a:t>scan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20" dirty="0">
                <a:solidFill>
                  <a:srgbClr val="525A5A"/>
                </a:solidFill>
                <a:latin typeface="Verdana"/>
                <a:cs typeface="Verdana"/>
              </a:rPr>
              <a:t>what</a:t>
            </a:r>
            <a:r>
              <a:rPr sz="1600" spc="-114" dirty="0">
                <a:solidFill>
                  <a:srgbClr val="525A5A"/>
                </a:solidFill>
                <a:latin typeface="Verdana"/>
                <a:cs typeface="Verdana"/>
              </a:rPr>
              <a:t>’</a:t>
            </a:r>
            <a:r>
              <a:rPr sz="1600" spc="-40" dirty="0">
                <a:solidFill>
                  <a:srgbClr val="525A5A"/>
                </a:solidFill>
                <a:latin typeface="Verdana"/>
                <a:cs typeface="Verdana"/>
              </a:rPr>
              <a:t>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2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el</a:t>
            </a:r>
            <a:r>
              <a:rPr sz="1600" spc="-10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600" spc="-110" dirty="0">
                <a:solidFill>
                  <a:srgbClr val="525A5A"/>
                </a:solidFill>
                <a:latin typeface="Verdana"/>
                <a:cs typeface="Verdana"/>
              </a:rPr>
              <a:t>v</a:t>
            </a:r>
            <a:r>
              <a:rPr sz="1600" spc="-50" dirty="0">
                <a:solidFill>
                  <a:srgbClr val="525A5A"/>
                </a:solidFill>
                <a:latin typeface="Verdana"/>
                <a:cs typeface="Verdana"/>
              </a:rPr>
              <a:t>ant</a:t>
            </a:r>
            <a:endParaRPr sz="1600">
              <a:latin typeface="Verdana"/>
              <a:cs typeface="Verdana"/>
            </a:endParaRPr>
          </a:p>
          <a:p>
            <a:pPr marL="244475" indent="-232410">
              <a:lnSpc>
                <a:spcPct val="100000"/>
              </a:lnSpc>
              <a:spcBef>
                <a:spcPts val="79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105" dirty="0">
                <a:solidFill>
                  <a:srgbClr val="525A5A"/>
                </a:solidFill>
                <a:latin typeface="Verdana"/>
                <a:cs typeface="Verdana"/>
              </a:rPr>
              <a:t>Som</a:t>
            </a:r>
            <a:r>
              <a:rPr sz="1600" spc="-9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600" spc="-20" dirty="0">
                <a:solidFill>
                  <a:srgbClr val="525A5A"/>
                </a:solidFill>
                <a:latin typeface="Verdana"/>
                <a:cs typeface="Verdana"/>
              </a:rPr>
              <a:t>what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90" dirty="0">
                <a:solidFill>
                  <a:srgbClr val="525A5A"/>
                </a:solidFill>
                <a:latin typeface="Verdana"/>
                <a:cs typeface="Verdana"/>
              </a:rPr>
              <a:t>cu</a:t>
            </a:r>
            <a:r>
              <a:rPr sz="1600" spc="-8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50" dirty="0">
                <a:solidFill>
                  <a:srgbClr val="525A5A"/>
                </a:solidFill>
                <a:latin typeface="Verdana"/>
                <a:cs typeface="Verdana"/>
              </a:rPr>
              <a:t>ated</a:t>
            </a:r>
            <a:endParaRPr sz="1600">
              <a:latin typeface="Verdana"/>
              <a:cs typeface="Verdana"/>
            </a:endParaRPr>
          </a:p>
        </p:txBody>
      </p:sp>
      <p:pic>
        <p:nvPicPr>
          <p:cNvPr id="12" name="object 1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831831" y="2445122"/>
            <a:ext cx="573948" cy="669098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899208" y="2095415"/>
            <a:ext cx="443225" cy="295486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483125" y="2066826"/>
            <a:ext cx="341153" cy="364958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3840738" y="1421949"/>
            <a:ext cx="0" cy="4418965"/>
          </a:xfrm>
          <a:custGeom>
            <a:avLst/>
            <a:gdLst/>
            <a:ahLst/>
            <a:cxnLst/>
            <a:rect l="l" t="t" r="r" b="b"/>
            <a:pathLst>
              <a:path h="4418965">
                <a:moveTo>
                  <a:pt x="0" y="0"/>
                </a:moveTo>
                <a:lnTo>
                  <a:pt x="0" y="4418435"/>
                </a:lnTo>
              </a:path>
            </a:pathLst>
          </a:custGeom>
          <a:ln w="9524">
            <a:solidFill>
              <a:srgbClr val="21272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8364981" y="2825657"/>
            <a:ext cx="3035935" cy="1163320"/>
          </a:xfrm>
          <a:prstGeom prst="rect">
            <a:avLst/>
          </a:prstGeom>
        </p:spPr>
        <p:txBody>
          <a:bodyPr vert="horz" wrap="square" lIns="0" tIns="160655" rIns="0" bIns="0" rtlCol="0">
            <a:spAutoFit/>
          </a:bodyPr>
          <a:lstStyle/>
          <a:p>
            <a:pPr marL="60960">
              <a:lnSpc>
                <a:spcPct val="100000"/>
              </a:lnSpc>
              <a:spcBef>
                <a:spcPts val="1265"/>
              </a:spcBef>
            </a:pPr>
            <a:r>
              <a:rPr sz="1800" b="1" spc="-50" dirty="0">
                <a:solidFill>
                  <a:srgbClr val="212721"/>
                </a:solidFill>
                <a:latin typeface="Century Gothic"/>
                <a:cs typeface="Century Gothic"/>
              </a:rPr>
              <a:t>BCG</a:t>
            </a:r>
            <a:r>
              <a:rPr sz="1800" b="1" spc="-5" dirty="0">
                <a:solidFill>
                  <a:srgbClr val="212721"/>
                </a:solidFill>
                <a:latin typeface="Century Gothic"/>
                <a:cs typeface="Century Gothic"/>
              </a:rPr>
              <a:t> </a:t>
            </a:r>
            <a:r>
              <a:rPr sz="1800" b="1" spc="150" dirty="0">
                <a:solidFill>
                  <a:srgbClr val="212721"/>
                </a:solidFill>
                <a:latin typeface="Century Gothic"/>
                <a:cs typeface="Century Gothic"/>
              </a:rPr>
              <a:t>DELIVERS:</a:t>
            </a:r>
            <a:endParaRPr sz="1800">
              <a:latin typeface="Century Gothic"/>
              <a:cs typeface="Century Gothic"/>
            </a:endParaRPr>
          </a:p>
          <a:p>
            <a:pPr marL="244475" indent="-232410">
              <a:lnSpc>
                <a:spcPct val="100000"/>
              </a:lnSpc>
              <a:spcBef>
                <a:spcPts val="104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35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eel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60" dirty="0">
                <a:solidFill>
                  <a:srgbClr val="525A5A"/>
                </a:solidFill>
                <a:latin typeface="Verdana"/>
                <a:cs typeface="Verdana"/>
              </a:rPr>
              <a:t>les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00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xpedient</a:t>
            </a:r>
            <a:endParaRPr sz="1600">
              <a:latin typeface="Verdana"/>
              <a:cs typeface="Verdana"/>
            </a:endParaRPr>
          </a:p>
          <a:p>
            <a:pPr marL="244475" indent="-232410">
              <a:lnSpc>
                <a:spcPct val="100000"/>
              </a:lnSpc>
              <a:spcBef>
                <a:spcPts val="750"/>
              </a:spcBef>
              <a:buClr>
                <a:srgbClr val="1ED75F"/>
              </a:buClr>
              <a:buFont typeface="Arial"/>
              <a:buChar char="●"/>
              <a:tabLst>
                <a:tab pos="245110" algn="l"/>
              </a:tabLst>
            </a:pPr>
            <a:r>
              <a:rPr sz="1600" spc="-55" dirty="0">
                <a:solidFill>
                  <a:srgbClr val="525A5A"/>
                </a:solidFill>
                <a:latin typeface="Verdana"/>
                <a:cs typeface="Verdana"/>
              </a:rPr>
              <a:t>Results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85" dirty="0">
                <a:solidFill>
                  <a:srgbClr val="525A5A"/>
                </a:solidFill>
                <a:latin typeface="Verdana"/>
                <a:cs typeface="Verdana"/>
              </a:rPr>
              <a:t>may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60" dirty="0">
                <a:solidFill>
                  <a:srgbClr val="525A5A"/>
                </a:solidFill>
                <a:latin typeface="Verdana"/>
                <a:cs typeface="Verdana"/>
              </a:rPr>
              <a:t>be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25" dirty="0">
                <a:solidFill>
                  <a:srgbClr val="525A5A"/>
                </a:solidFill>
                <a:latin typeface="Verdana"/>
                <a:cs typeface="Verdana"/>
              </a:rPr>
              <a:t>mo</a:t>
            </a:r>
            <a:r>
              <a:rPr sz="1600" spc="-85" dirty="0">
                <a:solidFill>
                  <a:srgbClr val="525A5A"/>
                </a:solidFill>
                <a:latin typeface="Verdana"/>
                <a:cs typeface="Verdana"/>
              </a:rPr>
              <a:t>re</a:t>
            </a:r>
            <a:r>
              <a:rPr sz="1600" spc="-14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600" spc="-12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600" spc="-70" dirty="0">
                <a:solidFill>
                  <a:srgbClr val="525A5A"/>
                </a:solidFill>
                <a:latin typeface="Verdana"/>
                <a:cs typeface="Verdana"/>
              </a:rPr>
              <a:t>el</a:t>
            </a:r>
            <a:r>
              <a:rPr sz="1600" spc="-10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600" spc="-110" dirty="0">
                <a:solidFill>
                  <a:srgbClr val="525A5A"/>
                </a:solidFill>
                <a:latin typeface="Verdana"/>
                <a:cs typeface="Verdana"/>
              </a:rPr>
              <a:t>v</a:t>
            </a:r>
            <a:r>
              <a:rPr sz="1600" spc="-50" dirty="0">
                <a:solidFill>
                  <a:srgbClr val="525A5A"/>
                </a:solidFill>
                <a:latin typeface="Verdana"/>
                <a:cs typeface="Verdana"/>
              </a:rPr>
              <a:t>ant</a:t>
            </a:r>
            <a:endParaRPr sz="1600">
              <a:latin typeface="Verdana"/>
              <a:cs typeface="Verdan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58750">
              <a:lnSpc>
                <a:spcPct val="100000"/>
              </a:lnSpc>
              <a:spcBef>
                <a:spcPts val="165"/>
              </a:spcBef>
            </a:pPr>
            <a:fld id="{81D60167-4931-47E6-BA6A-407CBD079E47}" type="slidenum">
              <a:rPr spc="-30" dirty="0"/>
              <a:t>6</a:t>
            </a:fld>
            <a:endParaRPr spc="-3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3340333" y="2000122"/>
            <a:ext cx="5418455" cy="4119879"/>
            <a:chOff x="3340333" y="2000122"/>
            <a:chExt cx="5418455" cy="4119879"/>
          </a:xfrm>
        </p:grpSpPr>
        <p:sp>
          <p:nvSpPr>
            <p:cNvPr id="6" name="object 6"/>
            <p:cNvSpPr/>
            <p:nvPr/>
          </p:nvSpPr>
          <p:spPr>
            <a:xfrm>
              <a:off x="3345095" y="2004884"/>
              <a:ext cx="5408930" cy="4110354"/>
            </a:xfrm>
            <a:custGeom>
              <a:avLst/>
              <a:gdLst/>
              <a:ahLst/>
              <a:cxnLst/>
              <a:rect l="l" t="t" r="r" b="b"/>
              <a:pathLst>
                <a:path w="5408930" h="4110354">
                  <a:moveTo>
                    <a:pt x="2712803" y="0"/>
                  </a:moveTo>
                  <a:lnTo>
                    <a:pt x="5408310" y="2764624"/>
                  </a:lnTo>
                  <a:lnTo>
                    <a:pt x="4063272" y="4110278"/>
                  </a:lnTo>
                  <a:lnTo>
                    <a:pt x="2704230" y="2751859"/>
                  </a:lnTo>
                  <a:lnTo>
                    <a:pt x="1350867" y="4105841"/>
                  </a:lnTo>
                  <a:lnTo>
                    <a:pt x="0" y="2755591"/>
                  </a:lnTo>
                  <a:lnTo>
                    <a:pt x="2712803" y="0"/>
                  </a:lnTo>
                  <a:close/>
                </a:path>
              </a:pathLst>
            </a:custGeom>
            <a:ln w="9524">
              <a:solidFill>
                <a:srgbClr val="9A9A9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810679" y="2136917"/>
              <a:ext cx="2486660" cy="2486660"/>
            </a:xfrm>
            <a:custGeom>
              <a:avLst/>
              <a:gdLst/>
              <a:ahLst/>
              <a:cxnLst/>
              <a:rect l="l" t="t" r="r" b="b"/>
              <a:pathLst>
                <a:path w="2486659" h="2486660">
                  <a:moveTo>
                    <a:pt x="1243049" y="2486099"/>
                  </a:moveTo>
                  <a:lnTo>
                    <a:pt x="0" y="1243049"/>
                  </a:lnTo>
                  <a:lnTo>
                    <a:pt x="1243049" y="0"/>
                  </a:lnTo>
                  <a:lnTo>
                    <a:pt x="2486099" y="1243049"/>
                  </a:lnTo>
                  <a:lnTo>
                    <a:pt x="1243049" y="2486099"/>
                  </a:lnTo>
                  <a:close/>
                </a:path>
              </a:pathLst>
            </a:custGeom>
            <a:solidFill>
              <a:srgbClr val="1ED7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617300" y="563664"/>
            <a:ext cx="950785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spc="75" dirty="0">
                <a:solidFill>
                  <a:srgbClr val="212721"/>
                </a:solidFill>
              </a:rPr>
              <a:t>These</a:t>
            </a:r>
            <a:r>
              <a:rPr sz="2800" spc="20" dirty="0">
                <a:solidFill>
                  <a:srgbClr val="212721"/>
                </a:solidFill>
              </a:rPr>
              <a:t> </a:t>
            </a:r>
            <a:r>
              <a:rPr sz="2800" spc="-5" dirty="0">
                <a:solidFill>
                  <a:srgbClr val="212721"/>
                </a:solidFill>
              </a:rPr>
              <a:t>are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45" dirty="0">
                <a:solidFill>
                  <a:srgbClr val="212721"/>
                </a:solidFill>
              </a:rPr>
              <a:t>the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75" dirty="0">
                <a:solidFill>
                  <a:srgbClr val="212721"/>
                </a:solidFill>
              </a:rPr>
              <a:t>Most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50" dirty="0">
                <a:solidFill>
                  <a:srgbClr val="212721"/>
                </a:solidFill>
              </a:rPr>
              <a:t>Impactful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110" dirty="0">
                <a:solidFill>
                  <a:srgbClr val="212721"/>
                </a:solidFill>
              </a:rPr>
              <a:t>Pain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155" dirty="0">
                <a:solidFill>
                  <a:srgbClr val="212721"/>
                </a:solidFill>
              </a:rPr>
              <a:t>Points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190" dirty="0">
                <a:solidFill>
                  <a:srgbClr val="212721"/>
                </a:solidFill>
              </a:rPr>
              <a:t>for</a:t>
            </a:r>
            <a:r>
              <a:rPr sz="2800" spc="25" dirty="0">
                <a:solidFill>
                  <a:srgbClr val="212721"/>
                </a:solidFill>
              </a:rPr>
              <a:t> </a:t>
            </a:r>
            <a:r>
              <a:rPr sz="2800" spc="85" dirty="0">
                <a:solidFill>
                  <a:srgbClr val="212721"/>
                </a:solidFill>
              </a:rPr>
              <a:t>Learners</a:t>
            </a:r>
            <a:endParaRPr sz="2800"/>
          </a:p>
        </p:txBody>
      </p:sp>
      <p:sp>
        <p:nvSpPr>
          <p:cNvPr id="9" name="object 9"/>
          <p:cNvSpPr txBox="1"/>
          <p:nvPr/>
        </p:nvSpPr>
        <p:spPr>
          <a:xfrm>
            <a:off x="5377983" y="2859375"/>
            <a:ext cx="137795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1800" spc="-3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800" spc="-65" dirty="0">
                <a:solidFill>
                  <a:srgbClr val="FFFFFF"/>
                </a:solidFill>
                <a:latin typeface="Verdana"/>
                <a:cs typeface="Verdana"/>
              </a:rPr>
              <a:t>ack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800" spc="-30" dirty="0">
                <a:solidFill>
                  <a:srgbClr val="FFFFFF"/>
                </a:solidFill>
                <a:latin typeface="Verdana"/>
                <a:cs typeface="Verdana"/>
              </a:rPr>
              <a:t>f  </a:t>
            </a:r>
            <a:r>
              <a:rPr sz="1800" spc="50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800" spc="-12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800" spc="-10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800" spc="-50" dirty="0">
                <a:solidFill>
                  <a:srgbClr val="FFFFFF"/>
                </a:solidFill>
                <a:latin typeface="Verdana"/>
                <a:cs typeface="Verdana"/>
              </a:rPr>
              <a:t>sonali</a:t>
            </a:r>
            <a:r>
              <a:rPr sz="1800" spc="-75" dirty="0">
                <a:solidFill>
                  <a:srgbClr val="FFFFFF"/>
                </a:solidFill>
                <a:latin typeface="Verdana"/>
                <a:cs typeface="Verdana"/>
              </a:rPr>
              <a:t>z</a:t>
            </a:r>
            <a:r>
              <a:rPr sz="1800" spc="-55" dirty="0">
                <a:solidFill>
                  <a:srgbClr val="FFFFFF"/>
                </a:solidFill>
                <a:latin typeface="Verdana"/>
                <a:cs typeface="Verdana"/>
              </a:rPr>
              <a:t>ed  </a:t>
            </a:r>
            <a:r>
              <a:rPr sz="1800" spc="-65" dirty="0">
                <a:solidFill>
                  <a:srgbClr val="FFFFFF"/>
                </a:solidFill>
                <a:latin typeface="Verdana"/>
                <a:cs typeface="Verdana"/>
              </a:rPr>
              <a:t>Learnings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173831" y="3512327"/>
            <a:ext cx="2486660" cy="2486660"/>
          </a:xfrm>
          <a:custGeom>
            <a:avLst/>
            <a:gdLst/>
            <a:ahLst/>
            <a:cxnLst/>
            <a:rect l="l" t="t" r="r" b="b"/>
            <a:pathLst>
              <a:path w="2486659" h="2486660">
                <a:moveTo>
                  <a:pt x="1243049" y="2486099"/>
                </a:moveTo>
                <a:lnTo>
                  <a:pt x="0" y="1243049"/>
                </a:lnTo>
                <a:lnTo>
                  <a:pt x="1243049" y="0"/>
                </a:lnTo>
                <a:lnTo>
                  <a:pt x="2486099" y="1243049"/>
                </a:lnTo>
                <a:lnTo>
                  <a:pt x="1243049" y="2486099"/>
                </a:lnTo>
                <a:close/>
              </a:path>
            </a:pathLst>
          </a:custGeom>
          <a:solidFill>
            <a:srgbClr val="30C1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589375" y="4334290"/>
            <a:ext cx="165544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</a:pPr>
            <a:r>
              <a:rPr sz="1800" spc="50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800" spc="-85" dirty="0">
                <a:solidFill>
                  <a:srgbClr val="FFFFFF"/>
                </a:solidFill>
                <a:latin typeface="Verdana"/>
                <a:cs typeface="Verdana"/>
              </a:rPr>
              <a:t>oor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55" dirty="0">
                <a:solidFill>
                  <a:srgbClr val="FFFFFF"/>
                </a:solidFill>
                <a:latin typeface="Verdana"/>
                <a:cs typeface="Verdana"/>
              </a:rPr>
              <a:t>Disc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800" spc="-120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800" spc="-12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800" spc="-4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800" spc="-180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800" spc="-235" dirty="0">
                <a:solidFill>
                  <a:srgbClr val="FFFFFF"/>
                </a:solidFill>
                <a:latin typeface="Verdana"/>
                <a:cs typeface="Verdana"/>
              </a:rPr>
              <a:t>,  </a:t>
            </a:r>
            <a:r>
              <a:rPr sz="1800" spc="-55" dirty="0">
                <a:solidFill>
                  <a:srgbClr val="FFFFFF"/>
                </a:solidFill>
                <a:latin typeface="Verdana"/>
                <a:cs typeface="Verdana"/>
              </a:rPr>
              <a:t>Navigation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&amp;  </a:t>
            </a:r>
            <a:r>
              <a:rPr sz="1800" spc="-55" dirty="0">
                <a:solidFill>
                  <a:srgbClr val="FFFFFF"/>
                </a:solidFill>
                <a:latin typeface="Verdana"/>
                <a:cs typeface="Verdana"/>
              </a:rPr>
              <a:t>Usability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445213" y="3512327"/>
            <a:ext cx="2486660" cy="2486660"/>
          </a:xfrm>
          <a:custGeom>
            <a:avLst/>
            <a:gdLst/>
            <a:ahLst/>
            <a:cxnLst/>
            <a:rect l="l" t="t" r="r" b="b"/>
            <a:pathLst>
              <a:path w="2486660" h="2486660">
                <a:moveTo>
                  <a:pt x="1243049" y="2486099"/>
                </a:moveTo>
                <a:lnTo>
                  <a:pt x="0" y="1243049"/>
                </a:lnTo>
                <a:lnTo>
                  <a:pt x="1243049" y="0"/>
                </a:lnTo>
                <a:lnTo>
                  <a:pt x="2486099" y="1243049"/>
                </a:lnTo>
                <a:lnTo>
                  <a:pt x="1243049" y="2486099"/>
                </a:lnTo>
                <a:close/>
              </a:path>
            </a:pathLst>
          </a:custGeom>
          <a:solidFill>
            <a:srgbClr val="0052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646789" y="4548856"/>
            <a:ext cx="21132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08915" marR="5080" indent="-196850">
              <a:lnSpc>
                <a:spcPct val="100000"/>
              </a:lnSpc>
              <a:spcBef>
                <a:spcPts val="100"/>
              </a:spcBef>
            </a:pPr>
            <a:r>
              <a:rPr sz="1800" spc="-50" dirty="0">
                <a:solidFill>
                  <a:srgbClr val="FFFFFF"/>
                </a:solidFill>
                <a:latin typeface="Verdana"/>
                <a:cs typeface="Verdana"/>
              </a:rPr>
              <a:t>Missing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85" dirty="0">
                <a:solidFill>
                  <a:srgbClr val="FFFFFF"/>
                </a:solidFill>
                <a:latin typeface="Verdana"/>
                <a:cs typeface="Verdana"/>
              </a:rPr>
              <a:t>Simplici</a:t>
            </a:r>
            <a:r>
              <a:rPr sz="1800" spc="-60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800" spc="-110" dirty="0">
                <a:solidFill>
                  <a:srgbClr val="FFFFFF"/>
                </a:solidFill>
                <a:latin typeface="Verdana"/>
                <a:cs typeface="Verdana"/>
              </a:rPr>
              <a:t>y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&amp;  </a:t>
            </a:r>
            <a:r>
              <a:rPr sz="1800" spc="-80" dirty="0">
                <a:solidFill>
                  <a:srgbClr val="FFFFFF"/>
                </a:solidFill>
                <a:latin typeface="Verdana"/>
                <a:cs typeface="Verdana"/>
              </a:rPr>
              <a:t>Quick</a:t>
            </a:r>
            <a:r>
              <a:rPr sz="1800" spc="-16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3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earnings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59619" y="5041929"/>
            <a:ext cx="4362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30" dirty="0">
                <a:solidFill>
                  <a:srgbClr val="575757"/>
                </a:solidFill>
                <a:latin typeface="Verdana"/>
                <a:cs typeface="Verdana"/>
              </a:rPr>
              <a:t>F</a:t>
            </a:r>
            <a:r>
              <a:rPr sz="1200" spc="-45" dirty="0">
                <a:solidFill>
                  <a:srgbClr val="575757"/>
                </a:solidFill>
                <a:latin typeface="Verdana"/>
                <a:cs typeface="Verdana"/>
              </a:rPr>
              <a:t>ocu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746309" y="5224809"/>
            <a:ext cx="662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30" dirty="0">
                <a:solidFill>
                  <a:srgbClr val="575757"/>
                </a:solidFill>
                <a:latin typeface="Verdana"/>
                <a:cs typeface="Verdana"/>
              </a:rPr>
              <a:t>f</a:t>
            </a:r>
            <a:r>
              <a:rPr sz="1200" spc="-60" dirty="0">
                <a:solidFill>
                  <a:srgbClr val="575757"/>
                </a:solidFill>
                <a:latin typeface="Verdana"/>
                <a:cs typeface="Verdana"/>
              </a:rPr>
              <a:t>or</a:t>
            </a:r>
            <a:r>
              <a:rPr sz="1200" spc="-11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200" spc="-40" dirty="0">
                <a:solidFill>
                  <a:srgbClr val="575757"/>
                </a:solidFill>
                <a:latin typeface="Verdana"/>
                <a:cs typeface="Verdana"/>
              </a:rPr>
              <a:t>today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373392" y="1924002"/>
            <a:ext cx="5408930" cy="360680"/>
          </a:xfrm>
          <a:custGeom>
            <a:avLst/>
            <a:gdLst/>
            <a:ahLst/>
            <a:cxnLst/>
            <a:rect l="l" t="t" r="r" b="b"/>
            <a:pathLst>
              <a:path w="5408930" h="360680">
                <a:moveTo>
                  <a:pt x="0" y="360161"/>
                </a:moveTo>
                <a:lnTo>
                  <a:pt x="2680225" y="0"/>
                </a:lnTo>
                <a:lnTo>
                  <a:pt x="5408311" y="360161"/>
                </a:lnTo>
              </a:path>
            </a:pathLst>
          </a:custGeom>
          <a:ln w="19049">
            <a:solidFill>
              <a:srgbClr val="9A9A9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5330801" y="1625796"/>
            <a:ext cx="153098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spc="-50" dirty="0">
                <a:solidFill>
                  <a:srgbClr val="575757"/>
                </a:solidFill>
                <a:latin typeface="Verdana"/>
                <a:cs typeface="Verdana"/>
              </a:rPr>
              <a:t>L&amp;D</a:t>
            </a:r>
            <a:r>
              <a:rPr sz="1500" spc="-14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500" spc="-45" dirty="0">
                <a:solidFill>
                  <a:srgbClr val="575757"/>
                </a:solidFill>
                <a:latin typeface="Verdana"/>
                <a:cs typeface="Verdana"/>
              </a:rPr>
              <a:t>Digital</a:t>
            </a:r>
            <a:r>
              <a:rPr sz="1500" spc="-14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500" spc="-135" dirty="0">
                <a:solidFill>
                  <a:srgbClr val="575757"/>
                </a:solidFill>
                <a:latin typeface="Verdana"/>
                <a:cs typeface="Verdana"/>
              </a:rPr>
              <a:t>T</a:t>
            </a:r>
            <a:r>
              <a:rPr sz="1500" spc="-50" dirty="0">
                <a:solidFill>
                  <a:srgbClr val="575757"/>
                </a:solidFill>
                <a:latin typeface="Verdana"/>
                <a:cs typeface="Verdana"/>
              </a:rPr>
              <a:t>ools</a:t>
            </a:r>
            <a:endParaRPr sz="1500"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45095" y="6115163"/>
            <a:ext cx="5436870" cy="307975"/>
          </a:xfrm>
          <a:prstGeom prst="rect">
            <a:avLst/>
          </a:prstGeom>
          <a:solidFill>
            <a:srgbClr val="F1F1F1"/>
          </a:solidFill>
          <a:ln w="19049">
            <a:solidFill>
              <a:srgbClr val="9A9A9A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417830">
              <a:lnSpc>
                <a:spcPct val="100000"/>
              </a:lnSpc>
              <a:spcBef>
                <a:spcPts val="265"/>
              </a:spcBef>
            </a:pPr>
            <a:r>
              <a:rPr sz="1400" spc="-35" dirty="0">
                <a:solidFill>
                  <a:srgbClr val="575757"/>
                </a:solidFill>
                <a:latin typeface="Verdana"/>
                <a:cs typeface="Verdana"/>
              </a:rPr>
              <a:t>Gap</a:t>
            </a:r>
            <a:r>
              <a:rPr sz="1400" spc="-13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50" dirty="0">
                <a:solidFill>
                  <a:srgbClr val="575757"/>
                </a:solidFill>
                <a:latin typeface="Verdana"/>
                <a:cs typeface="Verdana"/>
              </a:rPr>
              <a:t>between</a:t>
            </a:r>
            <a:r>
              <a:rPr sz="1400" spc="-12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15" dirty="0">
                <a:solidFill>
                  <a:srgbClr val="575757"/>
                </a:solidFill>
                <a:latin typeface="Verdana"/>
                <a:cs typeface="Verdana"/>
              </a:rPr>
              <a:t>what</a:t>
            </a:r>
            <a:r>
              <a:rPr sz="1400" spc="-12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65" dirty="0">
                <a:solidFill>
                  <a:srgbClr val="575757"/>
                </a:solidFill>
                <a:latin typeface="Verdana"/>
                <a:cs typeface="Verdana"/>
              </a:rPr>
              <a:t>learners</a:t>
            </a:r>
            <a:r>
              <a:rPr sz="1400" spc="-13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65" dirty="0">
                <a:solidFill>
                  <a:srgbClr val="575757"/>
                </a:solidFill>
                <a:latin typeface="Verdana"/>
                <a:cs typeface="Verdana"/>
              </a:rPr>
              <a:t>expect</a:t>
            </a:r>
            <a:r>
              <a:rPr sz="1400" spc="-12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35" dirty="0">
                <a:solidFill>
                  <a:srgbClr val="575757"/>
                </a:solidFill>
                <a:latin typeface="Verdana"/>
                <a:cs typeface="Verdana"/>
              </a:rPr>
              <a:t>and</a:t>
            </a:r>
            <a:r>
              <a:rPr sz="1400" spc="-12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15" dirty="0">
                <a:solidFill>
                  <a:srgbClr val="575757"/>
                </a:solidFill>
                <a:latin typeface="Verdana"/>
                <a:cs typeface="Verdana"/>
              </a:rPr>
              <a:t>what</a:t>
            </a:r>
            <a:r>
              <a:rPr sz="1400" spc="-130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10" dirty="0">
                <a:solidFill>
                  <a:srgbClr val="575757"/>
                </a:solidFill>
                <a:latin typeface="Verdana"/>
                <a:cs typeface="Verdana"/>
              </a:rPr>
              <a:t>we</a:t>
            </a:r>
            <a:r>
              <a:rPr sz="1400" spc="-125" dirty="0">
                <a:solidFill>
                  <a:srgbClr val="575757"/>
                </a:solidFill>
                <a:latin typeface="Verdana"/>
                <a:cs typeface="Verdana"/>
              </a:rPr>
              <a:t> </a:t>
            </a:r>
            <a:r>
              <a:rPr sz="1400" spc="-70" dirty="0">
                <a:solidFill>
                  <a:srgbClr val="575757"/>
                </a:solidFill>
                <a:latin typeface="Verdana"/>
                <a:cs typeface="Verdana"/>
              </a:rPr>
              <a:t>deliver</a:t>
            </a:r>
            <a:endParaRPr sz="1400">
              <a:latin typeface="Verdana"/>
              <a:cs typeface="Verdana"/>
            </a:endParaRPr>
          </a:p>
        </p:txBody>
      </p:sp>
      <p:pic>
        <p:nvPicPr>
          <p:cNvPr id="19" name="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64491" y="1095705"/>
            <a:ext cx="569469" cy="557692"/>
          </a:xfrm>
          <a:prstGeom prst="rect">
            <a:avLst/>
          </a:prstGeom>
        </p:spPr>
      </p:pic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58750">
              <a:lnSpc>
                <a:spcPct val="100000"/>
              </a:lnSpc>
              <a:spcBef>
                <a:spcPts val="165"/>
              </a:spcBef>
            </a:pPr>
            <a:fld id="{81D60167-4931-47E6-BA6A-407CBD079E47}" type="slidenum">
              <a:rPr spc="-30" dirty="0"/>
              <a:t>7</a:t>
            </a:fld>
            <a:endParaRPr spc="-3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19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12191999" y="0"/>
                </a:lnTo>
                <a:lnTo>
                  <a:pt x="121919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799" y="0"/>
            <a:ext cx="11971655" cy="6637655"/>
          </a:xfrm>
          <a:custGeom>
            <a:avLst/>
            <a:gdLst/>
            <a:ahLst/>
            <a:cxnLst/>
            <a:rect l="l" t="t" r="r" b="b"/>
            <a:pathLst>
              <a:path w="11971655" h="6637655">
                <a:moveTo>
                  <a:pt x="11971199" y="6637499"/>
                </a:moveTo>
                <a:lnTo>
                  <a:pt x="0" y="6637499"/>
                </a:lnTo>
                <a:lnTo>
                  <a:pt x="0" y="0"/>
                </a:lnTo>
                <a:lnTo>
                  <a:pt x="11971199" y="0"/>
                </a:lnTo>
                <a:lnTo>
                  <a:pt x="11971199" y="66374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01700" y="2450993"/>
            <a:ext cx="7391400" cy="1758950"/>
          </a:xfrm>
          <a:prstGeom prst="rect">
            <a:avLst/>
          </a:prstGeom>
        </p:spPr>
        <p:txBody>
          <a:bodyPr vert="horz" wrap="square" lIns="0" tIns="119380" rIns="0" bIns="0" rtlCol="0">
            <a:spAutoFit/>
          </a:bodyPr>
          <a:lstStyle/>
          <a:p>
            <a:pPr marL="12700" marR="5080">
              <a:lnSpc>
                <a:spcPts val="6450"/>
              </a:lnSpc>
              <a:spcBef>
                <a:spcPts val="940"/>
              </a:spcBef>
            </a:pPr>
            <a:r>
              <a:rPr sz="6000" spc="200" dirty="0">
                <a:solidFill>
                  <a:srgbClr val="212721"/>
                </a:solidFill>
              </a:rPr>
              <a:t>Three</a:t>
            </a:r>
            <a:r>
              <a:rPr sz="6000" spc="35" dirty="0">
                <a:solidFill>
                  <a:srgbClr val="212721"/>
                </a:solidFill>
              </a:rPr>
              <a:t> </a:t>
            </a:r>
            <a:r>
              <a:rPr sz="6000" spc="-80" dirty="0">
                <a:solidFill>
                  <a:srgbClr val="212721"/>
                </a:solidFill>
              </a:rPr>
              <a:t>Key</a:t>
            </a:r>
            <a:r>
              <a:rPr sz="6000" spc="40" dirty="0">
                <a:solidFill>
                  <a:srgbClr val="212721"/>
                </a:solidFill>
              </a:rPr>
              <a:t> </a:t>
            </a:r>
            <a:r>
              <a:rPr sz="6000" spc="330" dirty="0">
                <a:solidFill>
                  <a:srgbClr val="212721"/>
                </a:solidFill>
              </a:rPr>
              <a:t>Priorities </a:t>
            </a:r>
            <a:r>
              <a:rPr sz="6000" spc="-1664" dirty="0">
                <a:solidFill>
                  <a:srgbClr val="212721"/>
                </a:solidFill>
              </a:rPr>
              <a:t> </a:t>
            </a:r>
            <a:r>
              <a:rPr sz="6000" spc="415" dirty="0">
                <a:solidFill>
                  <a:srgbClr val="212721"/>
                </a:solidFill>
              </a:rPr>
              <a:t>for</a:t>
            </a:r>
            <a:r>
              <a:rPr sz="6000" spc="55" dirty="0">
                <a:solidFill>
                  <a:srgbClr val="212721"/>
                </a:solidFill>
              </a:rPr>
              <a:t> </a:t>
            </a:r>
            <a:r>
              <a:rPr sz="6000" spc="240" dirty="0">
                <a:solidFill>
                  <a:srgbClr val="212721"/>
                </a:solidFill>
              </a:rPr>
              <a:t>2022</a:t>
            </a:r>
            <a:endParaRPr sz="600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2949" y="6385398"/>
            <a:ext cx="0" cy="195580"/>
          </a:xfrm>
          <a:custGeom>
            <a:avLst/>
            <a:gdLst/>
            <a:ahLst/>
            <a:cxnLst/>
            <a:rect l="l" t="t" r="r" b="b"/>
            <a:pathLst>
              <a:path h="195579">
                <a:moveTo>
                  <a:pt x="0" y="0"/>
                </a:moveTo>
                <a:lnTo>
                  <a:pt x="0" y="195248"/>
                </a:lnTo>
              </a:path>
              <a:path h="195579">
                <a:moveTo>
                  <a:pt x="0" y="0"/>
                </a:moveTo>
                <a:lnTo>
                  <a:pt x="0" y="195248"/>
                </a:lnTo>
              </a:path>
            </a:pathLst>
          </a:custGeom>
          <a:ln w="9524">
            <a:solidFill>
              <a:srgbClr val="1ED7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883" y="6406051"/>
            <a:ext cx="640079" cy="1540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00433"/>
            <a:ext cx="457200" cy="142875"/>
          </a:xfrm>
          <a:custGeom>
            <a:avLst/>
            <a:gdLst/>
            <a:ahLst/>
            <a:cxnLst/>
            <a:rect l="l" t="t" r="r" b="b"/>
            <a:pathLst>
              <a:path w="457200" h="142875">
                <a:moveTo>
                  <a:pt x="457199" y="142799"/>
                </a:moveTo>
                <a:lnTo>
                  <a:pt x="0" y="142799"/>
                </a:lnTo>
                <a:lnTo>
                  <a:pt x="0" y="0"/>
                </a:lnTo>
                <a:lnTo>
                  <a:pt x="457199" y="0"/>
                </a:lnTo>
                <a:lnTo>
                  <a:pt x="457199" y="142799"/>
                </a:lnTo>
                <a:close/>
              </a:path>
            </a:pathLst>
          </a:custGeom>
          <a:solidFill>
            <a:srgbClr val="1ED7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7375" y="389229"/>
            <a:ext cx="629983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5" dirty="0">
                <a:solidFill>
                  <a:srgbClr val="212721"/>
                </a:solidFill>
              </a:rPr>
              <a:t>Lack</a:t>
            </a:r>
            <a:r>
              <a:rPr spc="15" dirty="0">
                <a:solidFill>
                  <a:srgbClr val="212721"/>
                </a:solidFill>
              </a:rPr>
              <a:t> </a:t>
            </a:r>
            <a:r>
              <a:rPr spc="150" dirty="0">
                <a:solidFill>
                  <a:srgbClr val="212721"/>
                </a:solidFill>
              </a:rPr>
              <a:t>of</a:t>
            </a:r>
            <a:r>
              <a:rPr spc="15" dirty="0">
                <a:solidFill>
                  <a:srgbClr val="212721"/>
                </a:solidFill>
              </a:rPr>
              <a:t> </a:t>
            </a:r>
            <a:r>
              <a:rPr spc="60" dirty="0">
                <a:solidFill>
                  <a:srgbClr val="212721"/>
                </a:solidFill>
              </a:rPr>
              <a:t>Personalized</a:t>
            </a:r>
            <a:r>
              <a:rPr spc="15" dirty="0">
                <a:solidFill>
                  <a:srgbClr val="212721"/>
                </a:solidFill>
              </a:rPr>
              <a:t> </a:t>
            </a:r>
            <a:r>
              <a:rPr spc="100" dirty="0">
                <a:solidFill>
                  <a:srgbClr val="212721"/>
                </a:solidFill>
              </a:rPr>
              <a:t>Learning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7375" y="1254855"/>
            <a:ext cx="6805295" cy="852169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85"/>
              </a:spcBef>
            </a:pPr>
            <a:r>
              <a:rPr sz="1800" b="1" spc="175" dirty="0">
                <a:solidFill>
                  <a:srgbClr val="1ED75F"/>
                </a:solidFill>
                <a:latin typeface="Century Gothic"/>
                <a:cs typeface="Century Gothic"/>
              </a:rPr>
              <a:t>LAB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should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45" dirty="0">
                <a:solidFill>
                  <a:srgbClr val="1ED75F"/>
                </a:solidFill>
                <a:latin typeface="Century Gothic"/>
                <a:cs typeface="Century Gothic"/>
              </a:rPr>
              <a:t>“know”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which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5" dirty="0">
                <a:solidFill>
                  <a:srgbClr val="1ED75F"/>
                </a:solidFill>
                <a:latin typeface="Century Gothic"/>
                <a:cs typeface="Century Gothic"/>
              </a:rPr>
              <a:t>courses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are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120" dirty="0">
                <a:solidFill>
                  <a:srgbClr val="1ED75F"/>
                </a:solidFill>
                <a:latin typeface="Century Gothic"/>
                <a:cs typeface="Century Gothic"/>
              </a:rPr>
              <a:t>for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65" dirty="0">
                <a:solidFill>
                  <a:srgbClr val="1ED75F"/>
                </a:solidFill>
                <a:latin typeface="Century Gothic"/>
                <a:cs typeface="Century Gothic"/>
              </a:rPr>
              <a:t>me.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55" dirty="0">
                <a:solidFill>
                  <a:srgbClr val="1ED75F"/>
                </a:solidFill>
                <a:latin typeface="Century Gothic"/>
                <a:cs typeface="Century Gothic"/>
              </a:rPr>
              <a:t>Learners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look </a:t>
            </a:r>
            <a:r>
              <a:rPr sz="1800" b="1" spc="-49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120" dirty="0">
                <a:solidFill>
                  <a:srgbClr val="1ED75F"/>
                </a:solidFill>
                <a:latin typeface="Century Gothic"/>
                <a:cs typeface="Century Gothic"/>
              </a:rPr>
              <a:t>for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displayed </a:t>
            </a:r>
            <a:r>
              <a:rPr sz="18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 </a:t>
            </a:r>
            <a:r>
              <a:rPr sz="18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pushed 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content </a:t>
            </a:r>
            <a:r>
              <a:rPr sz="18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that </a:t>
            </a:r>
            <a:r>
              <a:rPr sz="1800" b="1" spc="100" dirty="0">
                <a:solidFill>
                  <a:srgbClr val="1ED75F"/>
                </a:solidFill>
                <a:latin typeface="Century Gothic"/>
                <a:cs typeface="Century Gothic"/>
              </a:rPr>
              <a:t>is 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relevant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to </a:t>
            </a:r>
            <a:r>
              <a:rPr sz="1800" b="1" spc="75" dirty="0">
                <a:solidFill>
                  <a:srgbClr val="1ED75F"/>
                </a:solidFill>
                <a:latin typeface="Century Gothic"/>
                <a:cs typeface="Century Gothic"/>
              </a:rPr>
              <a:t>their </a:t>
            </a:r>
            <a:r>
              <a:rPr sz="18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changing</a:t>
            </a:r>
            <a:r>
              <a:rPr sz="18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requirements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nd</a:t>
            </a:r>
            <a:r>
              <a:rPr sz="18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8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preferences.</a:t>
            </a:r>
            <a:endParaRPr sz="18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7375" y="2406872"/>
            <a:ext cx="4982845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meet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learner</a:t>
            </a:r>
            <a:r>
              <a:rPr sz="1900" b="1" spc="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needs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i="1" spc="10" dirty="0">
                <a:solidFill>
                  <a:srgbClr val="525A5A"/>
                </a:solidFill>
                <a:latin typeface="Century Gothic"/>
                <a:cs typeface="Century Gothic"/>
              </a:rPr>
              <a:t>(incremental)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4363" y="2829021"/>
            <a:ext cx="6786880" cy="5473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8295" indent="-316230">
              <a:lnSpc>
                <a:spcPct val="100000"/>
              </a:lnSpc>
              <a:spcBef>
                <a:spcPts val="10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Help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learner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quickly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ﬁn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updat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email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preference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ha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push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recommendations.</a:t>
            </a:r>
            <a:endParaRPr sz="1300">
              <a:latin typeface="Verdana"/>
              <a:cs typeface="Verdana"/>
            </a:endParaRPr>
          </a:p>
          <a:p>
            <a:pPr marL="328295" indent="-316230">
              <a:lnSpc>
                <a:spcPct val="100000"/>
              </a:lnSpc>
              <a:spcBef>
                <a:spcPts val="990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140" dirty="0">
                <a:solidFill>
                  <a:srgbClr val="525A5A"/>
                </a:solidFill>
                <a:latin typeface="Verdana"/>
                <a:cs typeface="Verdana"/>
              </a:rPr>
              <a:t>In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cours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description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landing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pag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views,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highligh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course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for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learners.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27375" y="3473672"/>
            <a:ext cx="5067935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105" dirty="0">
                <a:solidFill>
                  <a:srgbClr val="1ED75F"/>
                </a:solidFill>
                <a:latin typeface="Century Gothic"/>
                <a:cs typeface="Century Gothic"/>
              </a:rPr>
              <a:t>How</a:t>
            </a:r>
            <a:r>
              <a:rPr sz="19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900" b="1" spc="85" dirty="0">
                <a:solidFill>
                  <a:srgbClr val="525A5A"/>
                </a:solidFill>
                <a:latin typeface="Century Gothic"/>
                <a:cs typeface="Century Gothic"/>
              </a:rPr>
              <a:t>to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5" dirty="0">
                <a:solidFill>
                  <a:srgbClr val="525A5A"/>
                </a:solidFill>
                <a:latin typeface="Century Gothic"/>
                <a:cs typeface="Century Gothic"/>
              </a:rPr>
              <a:t>meet</a:t>
            </a:r>
            <a:r>
              <a:rPr sz="1900" b="1" spc="10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25" dirty="0">
                <a:solidFill>
                  <a:srgbClr val="525A5A"/>
                </a:solidFill>
                <a:latin typeface="Century Gothic"/>
                <a:cs typeface="Century Gothic"/>
              </a:rPr>
              <a:t>learner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spc="-40" dirty="0">
                <a:solidFill>
                  <a:srgbClr val="525A5A"/>
                </a:solidFill>
                <a:latin typeface="Century Gothic"/>
                <a:cs typeface="Century Gothic"/>
              </a:rPr>
              <a:t>needs</a:t>
            </a:r>
            <a:r>
              <a:rPr sz="1900" b="1" spc="15" dirty="0">
                <a:solidFill>
                  <a:srgbClr val="525A5A"/>
                </a:solidFill>
                <a:latin typeface="Century Gothic"/>
                <a:cs typeface="Century Gothic"/>
              </a:rPr>
              <a:t> </a:t>
            </a:r>
            <a:r>
              <a:rPr sz="1900" b="1" i="1" spc="-5" dirty="0">
                <a:solidFill>
                  <a:srgbClr val="525A5A"/>
                </a:solidFill>
                <a:latin typeface="Century Gothic"/>
                <a:cs typeface="Century Gothic"/>
              </a:rPr>
              <a:t>(step-change)</a:t>
            </a:r>
            <a:r>
              <a:rPr sz="1900" b="1" spc="-5" dirty="0">
                <a:solidFill>
                  <a:srgbClr val="525A5A"/>
                </a:solidFill>
                <a:latin typeface="Century Gothic"/>
                <a:cs typeface="Century Gothic"/>
              </a:rPr>
              <a:t>:</a:t>
            </a:r>
            <a:endParaRPr sz="1900">
              <a:latin typeface="Century Gothic"/>
              <a:cs typeface="Century Gothic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4363" y="3895821"/>
            <a:ext cx="7043420" cy="237617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28295" marR="519430" indent="-316230">
              <a:lnSpc>
                <a:spcPct val="101000"/>
              </a:lnSpc>
              <a:spcBef>
                <a:spcPts val="85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improve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learner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engagement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with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AB,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Edcast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(and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Navigator),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stoke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learners’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network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of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colleagues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supervisors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35" dirty="0">
                <a:solidFill>
                  <a:srgbClr val="525A5A"/>
                </a:solidFill>
                <a:latin typeface="Verdana"/>
                <a:cs typeface="Verdana"/>
              </a:rPr>
              <a:t>and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inﬂuencers.</a:t>
            </a:r>
            <a:endParaRPr sz="1300">
              <a:latin typeface="Verdana"/>
              <a:cs typeface="Verdana"/>
            </a:endParaRPr>
          </a:p>
          <a:p>
            <a:pPr marL="328295" marR="5080" indent="-316230">
              <a:lnSpc>
                <a:spcPct val="101000"/>
              </a:lnSpc>
              <a:spcBef>
                <a:spcPts val="969"/>
              </a:spcBef>
              <a:buClr>
                <a:srgbClr val="1ED75F"/>
              </a:buClr>
              <a:buChar char="•"/>
              <a:tabLst>
                <a:tab pos="328295" algn="l"/>
                <a:tab pos="328930" algn="l"/>
              </a:tabLst>
            </a:pP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Provide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" dirty="0">
                <a:solidFill>
                  <a:srgbClr val="525A5A"/>
                </a:solidFill>
                <a:latin typeface="Verdana"/>
                <a:cs typeface="Verdana"/>
              </a:rPr>
              <a:t>a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scannable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“one-page”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reference.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Deliver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environments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learners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already</a:t>
            </a:r>
            <a:r>
              <a:rPr sz="1300" spc="-11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visit </a:t>
            </a:r>
            <a:r>
              <a:rPr sz="1300" spc="-44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frequently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(Outlook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Slack,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calenda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app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etc.). 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Answe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t-a-glance:</a:t>
            </a:r>
            <a:endParaRPr sz="1300">
              <a:latin typeface="Verdana"/>
              <a:cs typeface="Verdana"/>
            </a:endParaRPr>
          </a:p>
          <a:p>
            <a:pPr marL="614045" lvl="1" indent="-328930">
              <a:lnSpc>
                <a:spcPct val="100000"/>
              </a:lnSpc>
              <a:spcBef>
                <a:spcPts val="990"/>
              </a:spcBef>
              <a:buClr>
                <a:srgbClr val="1ED75F"/>
              </a:buClr>
              <a:buFont typeface="Arial"/>
              <a:buChar char="○"/>
              <a:tabLst>
                <a:tab pos="614045" algn="l"/>
                <a:tab pos="614680" algn="l"/>
              </a:tabLst>
            </a:pPr>
            <a:r>
              <a:rPr sz="1300" spc="10" dirty="0">
                <a:solidFill>
                  <a:srgbClr val="525A5A"/>
                </a:solidFill>
                <a:latin typeface="Verdana"/>
                <a:cs typeface="Verdana"/>
              </a:rPr>
              <a:t>Wha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t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aining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d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15" dirty="0">
                <a:solidFill>
                  <a:srgbClr val="525A5A"/>
                </a:solidFill>
                <a:latin typeface="Verdana"/>
                <a:cs typeface="Verdana"/>
              </a:rPr>
              <a:t>I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ha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v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a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k</a:t>
            </a:r>
            <a:r>
              <a:rPr sz="1300" spc="-85" dirty="0">
                <a:solidFill>
                  <a:srgbClr val="525A5A"/>
                </a:solidFill>
                <a:latin typeface="Verdana"/>
                <a:cs typeface="Verdana"/>
              </a:rPr>
              <a:t>e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?</a:t>
            </a:r>
            <a:endParaRPr sz="1300">
              <a:latin typeface="Verdana"/>
              <a:cs typeface="Verdana"/>
            </a:endParaRPr>
          </a:p>
          <a:p>
            <a:pPr marL="61404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14045" algn="l"/>
                <a:tab pos="614680" algn="l"/>
              </a:tabLst>
            </a:pPr>
            <a:r>
              <a:rPr sz="1300" spc="5" dirty="0">
                <a:solidFill>
                  <a:srgbClr val="525A5A"/>
                </a:solidFill>
                <a:latin typeface="Verdana"/>
                <a:cs typeface="Verdana"/>
              </a:rPr>
              <a:t>Ho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long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will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i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tak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95" dirty="0">
                <a:solidFill>
                  <a:srgbClr val="525A5A"/>
                </a:solidFill>
                <a:latin typeface="Verdana"/>
                <a:cs typeface="Verdana"/>
              </a:rPr>
              <a:t>m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ge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t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relevan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akeaways?</a:t>
            </a:r>
            <a:endParaRPr sz="1300">
              <a:latin typeface="Verdana"/>
              <a:cs typeface="Verdana"/>
            </a:endParaRPr>
          </a:p>
          <a:p>
            <a:pPr marL="61404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14045" algn="l"/>
                <a:tab pos="614680" algn="l"/>
              </a:tabLst>
            </a:pPr>
            <a:r>
              <a:rPr sz="1300" spc="-15" dirty="0">
                <a:solidFill>
                  <a:srgbClr val="525A5A"/>
                </a:solidFill>
                <a:latin typeface="Verdana"/>
                <a:cs typeface="Verdana"/>
              </a:rPr>
              <a:t>H</a:t>
            </a:r>
            <a:r>
              <a:rPr sz="1300" spc="-2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65" dirty="0">
                <a:solidFill>
                  <a:srgbClr val="525A5A"/>
                </a:solidFill>
                <a:latin typeface="Verdana"/>
                <a:cs typeface="Verdana"/>
              </a:rPr>
              <a:t>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0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ecent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th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content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?</a:t>
            </a:r>
            <a:endParaRPr sz="1300">
              <a:latin typeface="Verdana"/>
              <a:cs typeface="Verdana"/>
            </a:endParaRPr>
          </a:p>
          <a:p>
            <a:pPr marL="61404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14045" algn="l"/>
                <a:tab pos="614680" algn="l"/>
              </a:tabLst>
            </a:pPr>
            <a:r>
              <a:rPr sz="1300" spc="15" dirty="0">
                <a:solidFill>
                  <a:srgbClr val="525A5A"/>
                </a:solidFill>
                <a:latin typeface="Verdana"/>
                <a:cs typeface="Verdana"/>
              </a:rPr>
              <a:t>Wh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uth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or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p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esenter?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Do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215" dirty="0">
                <a:solidFill>
                  <a:srgbClr val="525A5A"/>
                </a:solidFill>
                <a:latin typeface="Verdana"/>
                <a:cs typeface="Verdana"/>
              </a:rPr>
              <a:t>I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kn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65" dirty="0">
                <a:solidFill>
                  <a:srgbClr val="525A5A"/>
                </a:solidFill>
                <a:latin typeface="Verdana"/>
                <a:cs typeface="Verdana"/>
              </a:rPr>
              <a:t>w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35" dirty="0">
                <a:solidFill>
                  <a:srgbClr val="525A5A"/>
                </a:solidFill>
                <a:latin typeface="Verdana"/>
                <a:cs typeface="Verdana"/>
              </a:rPr>
              <a:t>m</a:t>
            </a:r>
            <a:r>
              <a:rPr sz="1300" spc="-130" dirty="0">
                <a:solidFill>
                  <a:srgbClr val="525A5A"/>
                </a:solidFill>
                <a:latin typeface="Verdana"/>
                <a:cs typeface="Verdana"/>
              </a:rPr>
              <a:t>?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95" dirty="0">
                <a:solidFill>
                  <a:srgbClr val="525A5A"/>
                </a:solidFill>
                <a:latin typeface="Verdana"/>
                <a:cs typeface="Verdana"/>
              </a:rPr>
              <a:t>(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Quali</a:t>
            </a:r>
            <a:r>
              <a:rPr sz="1300" spc="-30" dirty="0">
                <a:solidFill>
                  <a:srgbClr val="525A5A"/>
                </a:solidFill>
                <a:latin typeface="Verdana"/>
                <a:cs typeface="Verdana"/>
              </a:rPr>
              <a:t>t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y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o</a:t>
            </a:r>
            <a:r>
              <a:rPr sz="1300" spc="-20" dirty="0">
                <a:solidFill>
                  <a:srgbClr val="525A5A"/>
                </a:solidFill>
                <a:latin typeface="Verdana"/>
                <a:cs typeface="Verdana"/>
              </a:rPr>
              <a:t>f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0" dirty="0">
                <a:solidFill>
                  <a:srgbClr val="525A5A"/>
                </a:solidFill>
                <a:latin typeface="Verdana"/>
                <a:cs typeface="Verdana"/>
              </a:rPr>
              <a:t>t</a:t>
            </a:r>
            <a:r>
              <a:rPr sz="1300" spc="-90" dirty="0">
                <a:solidFill>
                  <a:srgbClr val="525A5A"/>
                </a:solidFill>
                <a:latin typeface="Verdana"/>
                <a:cs typeface="Verdana"/>
              </a:rPr>
              <a:t>r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aining)</a:t>
            </a:r>
            <a:endParaRPr sz="1300">
              <a:latin typeface="Verdana"/>
              <a:cs typeface="Verdana"/>
            </a:endParaRPr>
          </a:p>
          <a:p>
            <a:pPr marL="614045" lvl="1" indent="-328930">
              <a:lnSpc>
                <a:spcPct val="100000"/>
              </a:lnSpc>
              <a:spcBef>
                <a:spcPts val="615"/>
              </a:spcBef>
              <a:buClr>
                <a:srgbClr val="1ED75F"/>
              </a:buClr>
              <a:buFont typeface="Arial"/>
              <a:buChar char="○"/>
              <a:tabLst>
                <a:tab pos="614045" algn="l"/>
                <a:tab pos="614680" algn="l"/>
              </a:tabLst>
            </a:pPr>
            <a:r>
              <a:rPr sz="1300" spc="-10" dirty="0">
                <a:solidFill>
                  <a:srgbClr val="525A5A"/>
                </a:solidFill>
                <a:latin typeface="Verdana"/>
                <a:cs typeface="Verdana"/>
              </a:rPr>
              <a:t>Which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speciﬁc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5" dirty="0">
                <a:solidFill>
                  <a:srgbClr val="525A5A"/>
                </a:solidFill>
                <a:latin typeface="Verdana"/>
                <a:cs typeface="Verdana"/>
              </a:rPr>
              <a:t>topic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0" dirty="0">
                <a:solidFill>
                  <a:srgbClr val="525A5A"/>
                </a:solidFill>
                <a:latin typeface="Verdana"/>
                <a:cs typeface="Verdana"/>
              </a:rPr>
              <a:t>ar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75" dirty="0">
                <a:solidFill>
                  <a:srgbClr val="525A5A"/>
                </a:solidFill>
                <a:latin typeface="Verdana"/>
                <a:cs typeface="Verdana"/>
              </a:rPr>
              <a:t>covered?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10" dirty="0">
                <a:solidFill>
                  <a:srgbClr val="525A5A"/>
                </a:solidFill>
                <a:latin typeface="Verdana"/>
                <a:cs typeface="Verdana"/>
              </a:rPr>
              <a:t>What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40" dirty="0">
                <a:solidFill>
                  <a:srgbClr val="525A5A"/>
                </a:solidFill>
                <a:latin typeface="Verdana"/>
                <a:cs typeface="Verdana"/>
              </a:rPr>
              <a:t>is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65" dirty="0">
                <a:solidFill>
                  <a:srgbClr val="525A5A"/>
                </a:solidFill>
                <a:latin typeface="Verdana"/>
                <a:cs typeface="Verdana"/>
              </a:rPr>
              <a:t>the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0" dirty="0">
                <a:solidFill>
                  <a:srgbClr val="525A5A"/>
                </a:solidFill>
                <a:latin typeface="Verdana"/>
                <a:cs typeface="Verdana"/>
              </a:rPr>
              <a:t>learning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80" dirty="0">
                <a:solidFill>
                  <a:srgbClr val="525A5A"/>
                </a:solidFill>
                <a:latin typeface="Verdana"/>
                <a:cs typeface="Verdana"/>
              </a:rPr>
              <a:t>level?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25" dirty="0">
                <a:solidFill>
                  <a:srgbClr val="525A5A"/>
                </a:solidFill>
                <a:latin typeface="Verdana"/>
                <a:cs typeface="Verdana"/>
              </a:rPr>
              <a:t>(Intro,</a:t>
            </a:r>
            <a:r>
              <a:rPr sz="1300" spc="-120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55" dirty="0">
                <a:solidFill>
                  <a:srgbClr val="525A5A"/>
                </a:solidFill>
                <a:latin typeface="Verdana"/>
                <a:cs typeface="Verdana"/>
              </a:rPr>
              <a:t>advanced,</a:t>
            </a:r>
            <a:r>
              <a:rPr sz="1300" spc="-114" dirty="0">
                <a:solidFill>
                  <a:srgbClr val="525A5A"/>
                </a:solidFill>
                <a:latin typeface="Verdana"/>
                <a:cs typeface="Verdana"/>
              </a:rPr>
              <a:t> </a:t>
            </a:r>
            <a:r>
              <a:rPr sz="1300" spc="-105" dirty="0">
                <a:solidFill>
                  <a:srgbClr val="525A5A"/>
                </a:solidFill>
                <a:latin typeface="Verdana"/>
                <a:cs typeface="Verdana"/>
              </a:rPr>
              <a:t>etc.)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887499" y="799"/>
            <a:ext cx="4291965" cy="6858000"/>
          </a:xfrm>
          <a:custGeom>
            <a:avLst/>
            <a:gdLst/>
            <a:ahLst/>
            <a:cxnLst/>
            <a:rect l="l" t="t" r="r" b="b"/>
            <a:pathLst>
              <a:path w="4291965" h="6858000">
                <a:moveTo>
                  <a:pt x="4291799" y="6857999"/>
                </a:moveTo>
                <a:lnTo>
                  <a:pt x="0" y="6857999"/>
                </a:lnTo>
                <a:lnTo>
                  <a:pt x="0" y="0"/>
                </a:lnTo>
                <a:lnTo>
                  <a:pt x="4291799" y="0"/>
                </a:lnTo>
                <a:lnTo>
                  <a:pt x="4291799" y="6857999"/>
                </a:lnTo>
                <a:close/>
              </a:path>
            </a:pathLst>
          </a:custGeom>
          <a:solidFill>
            <a:srgbClr val="2127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677480" y="1601584"/>
            <a:ext cx="1996439" cy="10255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ha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lit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tl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e-t</a:t>
            </a:r>
            <a:r>
              <a:rPr sz="1000" b="1" spc="30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-no time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search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mo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s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el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ant 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in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in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ormatio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40" dirty="0">
                <a:solidFill>
                  <a:srgbClr val="FFFFFF"/>
                </a:solidFill>
                <a:latin typeface="Verdana"/>
                <a:cs typeface="Verdana"/>
              </a:rPr>
              <a:t>w</a:t>
            </a:r>
            <a:r>
              <a:rPr sz="1000" spc="-6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k</a:t>
            </a:r>
            <a:r>
              <a:rPr sz="1000" spc="-130" dirty="0">
                <a:solidFill>
                  <a:srgbClr val="FFFFFF"/>
                </a:solidFill>
                <a:latin typeface="Verdana"/>
                <a:cs typeface="Verdana"/>
              </a:rPr>
              <a:t>. 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hey </a:t>
            </a:r>
            <a:r>
              <a:rPr sz="10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want 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for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help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ﬁnding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and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choosing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appropriate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content.</a:t>
            </a:r>
            <a:endParaRPr sz="1000">
              <a:latin typeface="Century Gothic"/>
              <a:cs typeface="Century Gothic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677479" y="3010372"/>
            <a:ext cx="1687195" cy="1425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intui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ha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ny 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pla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spc="-114" dirty="0">
                <a:solidFill>
                  <a:srgbClr val="FFFFFF"/>
                </a:solidFill>
                <a:latin typeface="Verdana"/>
                <a:cs typeface="Verdana"/>
              </a:rPr>
              <a:t>m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’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echnology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today 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55" dirty="0">
                <a:solidFill>
                  <a:srgbClr val="1ED75F"/>
                </a:solidFill>
                <a:latin typeface="Century Gothic"/>
                <a:cs typeface="Century Gothic"/>
              </a:rPr>
              <a:t>capable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5" dirty="0">
                <a:solidFill>
                  <a:srgbClr val="1ED75F"/>
                </a:solidFill>
                <a:latin typeface="Century Gothic"/>
                <a:cs typeface="Century Gothic"/>
              </a:rPr>
              <a:t>o</a:t>
            </a:r>
            <a:r>
              <a:rPr sz="1000" b="1" spc="85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pushing  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cus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mi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z</a:t>
            </a:r>
            <a:r>
              <a:rPr sz="1000" b="1" spc="-70" dirty="0">
                <a:solidFill>
                  <a:srgbClr val="1ED75F"/>
                </a:solidFill>
                <a:latin typeface="Century Gothic"/>
                <a:cs typeface="Century Gothic"/>
              </a:rPr>
              <a:t>ed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0" dirty="0">
                <a:solidFill>
                  <a:srgbClr val="1ED75F"/>
                </a:solidFill>
                <a:latin typeface="Century Gothic"/>
                <a:cs typeface="Century Gothic"/>
              </a:rPr>
              <a:t>content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them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xpedit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p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oces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 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locating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el</a:t>
            </a:r>
            <a:r>
              <a:rPr sz="1000" spc="-70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v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an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quali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y  material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(li</a:t>
            </a:r>
            <a:r>
              <a:rPr sz="1000" spc="-120" dirty="0">
                <a:solidFill>
                  <a:srgbClr val="FFFFFF"/>
                </a:solidFill>
                <a:latin typeface="Verdana"/>
                <a:cs typeface="Verdana"/>
              </a:rPr>
              <a:t>k</a:t>
            </a:r>
            <a:r>
              <a:rPr sz="1000" spc="-55" dirty="0">
                <a:solidFill>
                  <a:srgbClr val="FFFFFF"/>
                </a:solidFill>
                <a:latin typeface="Verdana"/>
                <a:cs typeface="Verdana"/>
              </a:rPr>
              <a:t>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KN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Materials).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9199434" y="1633360"/>
            <a:ext cx="240029" cy="3173730"/>
            <a:chOff x="9199434" y="1633360"/>
            <a:chExt cx="240029" cy="3173730"/>
          </a:xfrm>
        </p:grpSpPr>
        <p:sp>
          <p:nvSpPr>
            <p:cNvPr id="15" name="object 15"/>
            <p:cNvSpPr/>
            <p:nvPr/>
          </p:nvSpPr>
          <p:spPr>
            <a:xfrm>
              <a:off x="9319284" y="1873061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3999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9434" y="1633360"/>
              <a:ext cx="239699" cy="239700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9199422" y="3029711"/>
              <a:ext cx="240029" cy="1778000"/>
            </a:xfrm>
            <a:custGeom>
              <a:avLst/>
              <a:gdLst/>
              <a:ahLst/>
              <a:cxnLst/>
              <a:rect l="l" t="t" r="r" b="b"/>
              <a:pathLst>
                <a:path w="240029" h="1778000">
                  <a:moveTo>
                    <a:pt x="239699" y="1657527"/>
                  </a:moveTo>
                  <a:lnTo>
                    <a:pt x="119849" y="1537677"/>
                  </a:lnTo>
                  <a:lnTo>
                    <a:pt x="0" y="1657527"/>
                  </a:lnTo>
                  <a:lnTo>
                    <a:pt x="119849" y="1777377"/>
                  </a:lnTo>
                  <a:lnTo>
                    <a:pt x="239699" y="1657527"/>
                  </a:lnTo>
                  <a:close/>
                </a:path>
                <a:path w="240029" h="1778000">
                  <a:moveTo>
                    <a:pt x="239699" y="119849"/>
                  </a:moveTo>
                  <a:lnTo>
                    <a:pt x="119849" y="0"/>
                  </a:lnTo>
                  <a:lnTo>
                    <a:pt x="0" y="119849"/>
                  </a:lnTo>
                  <a:lnTo>
                    <a:pt x="119849" y="239699"/>
                  </a:lnTo>
                  <a:lnTo>
                    <a:pt x="239699" y="1198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8619999" y="1650480"/>
            <a:ext cx="4203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140" dirty="0">
                <a:solidFill>
                  <a:srgbClr val="1ED75F"/>
                </a:solidFill>
                <a:latin typeface="Century Gothic"/>
                <a:cs typeface="Century Gothic"/>
              </a:rPr>
              <a:t>P</a:t>
            </a:r>
            <a:r>
              <a:rPr sz="1400" b="1" spc="25" dirty="0">
                <a:solidFill>
                  <a:srgbClr val="1ED75F"/>
                </a:solidFill>
                <a:latin typeface="Century Gothic"/>
                <a:cs typeface="Century Gothic"/>
              </a:rPr>
              <a:t>ain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pc="-30" dirty="0"/>
              <a:t>9</a:t>
            </a:fld>
            <a:endParaRPr spc="-30" dirty="0"/>
          </a:p>
        </p:txBody>
      </p:sp>
      <p:sp>
        <p:nvSpPr>
          <p:cNvPr id="19" name="object 19"/>
          <p:cNvSpPr txBox="1"/>
          <p:nvPr/>
        </p:nvSpPr>
        <p:spPr>
          <a:xfrm>
            <a:off x="8481924" y="3017866"/>
            <a:ext cx="5588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50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-10" dirty="0">
                <a:solidFill>
                  <a:srgbClr val="999999"/>
                </a:solidFill>
                <a:latin typeface="Century Gothic"/>
                <a:cs typeface="Century Gothic"/>
              </a:rPr>
              <a:t>ause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398581" y="4562566"/>
            <a:ext cx="6419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999999"/>
                </a:solidFill>
                <a:latin typeface="Century Gothic"/>
                <a:cs typeface="Century Gothic"/>
              </a:rPr>
              <a:t>Impa</a:t>
            </a:r>
            <a:r>
              <a:rPr sz="1400" b="1" spc="-35" dirty="0">
                <a:solidFill>
                  <a:srgbClr val="999999"/>
                </a:solidFill>
                <a:latin typeface="Century Gothic"/>
                <a:cs typeface="Century Gothic"/>
              </a:rPr>
              <a:t>c</a:t>
            </a:r>
            <a:r>
              <a:rPr sz="1400" b="1" spc="160" dirty="0">
                <a:solidFill>
                  <a:srgbClr val="999999"/>
                </a:solidFill>
                <a:latin typeface="Century Gothic"/>
                <a:cs typeface="Century Gothic"/>
              </a:rPr>
              <a:t>t</a:t>
            </a:r>
            <a:endParaRPr sz="1400">
              <a:latin typeface="Century Gothic"/>
              <a:cs typeface="Century Gothic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657414" y="4535604"/>
            <a:ext cx="1970405" cy="1225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1300"/>
              </a:lnSpc>
              <a:spcBef>
                <a:spcPts val="100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L</a:t>
            </a:r>
            <a:r>
              <a:rPr sz="1000" spc="-50" dirty="0">
                <a:solidFill>
                  <a:srgbClr val="FFFFFF"/>
                </a:solidFill>
                <a:latin typeface="Verdana"/>
                <a:cs typeface="Verdana"/>
              </a:rPr>
              <a:t>earn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35" dirty="0">
                <a:solidFill>
                  <a:srgbClr val="1ED75F"/>
                </a:solidFill>
                <a:latin typeface="Century Gothic"/>
                <a:cs typeface="Century Gothic"/>
              </a:rPr>
              <a:t>turn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15" dirty="0">
                <a:solidFill>
                  <a:srgbClr val="1ED75F"/>
                </a:solidFill>
                <a:latin typeface="Century Gothic"/>
                <a:cs typeface="Century Gothic"/>
              </a:rPr>
              <a:t>to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outside 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plat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f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orm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spc="-30" dirty="0">
                <a:solidFill>
                  <a:srgbClr val="1ED75F"/>
                </a:solidFill>
                <a:latin typeface="Century Gothic"/>
                <a:cs typeface="Century Gothic"/>
              </a:rPr>
              <a:t>,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45" dirty="0">
                <a:solidFill>
                  <a:srgbClr val="1ED75F"/>
                </a:solidFill>
                <a:latin typeface="Century Gothic"/>
                <a:cs typeface="Century Gothic"/>
              </a:rPr>
              <a:t>n</a:t>
            </a:r>
            <a:r>
              <a:rPr sz="1000" b="1" spc="-60" dirty="0">
                <a:solidFill>
                  <a:srgbClr val="1ED75F"/>
                </a:solidFill>
                <a:latin typeface="Century Gothic"/>
                <a:cs typeface="Century Gothic"/>
              </a:rPr>
              <a:t>e</a:t>
            </a:r>
            <a:r>
              <a:rPr sz="1000" b="1" spc="80" dirty="0">
                <a:solidFill>
                  <a:srgbClr val="1ED75F"/>
                </a:solidFill>
                <a:latin typeface="Century Gothic"/>
                <a:cs typeface="Century Gothic"/>
              </a:rPr>
              <a:t>t</a:t>
            </a:r>
            <a:r>
              <a:rPr sz="1000" b="1" spc="70" dirty="0">
                <a:solidFill>
                  <a:srgbClr val="1ED75F"/>
                </a:solidFill>
                <a:latin typeface="Century Gothic"/>
                <a:cs typeface="Century Gothic"/>
              </a:rPr>
              <a:t>w</a:t>
            </a:r>
            <a:r>
              <a:rPr sz="1000" b="1" spc="-5" dirty="0">
                <a:solidFill>
                  <a:srgbClr val="1ED75F"/>
                </a:solidFill>
                <a:latin typeface="Century Gothic"/>
                <a:cs typeface="Century Gothic"/>
              </a:rPr>
              <a:t>or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k</a:t>
            </a:r>
            <a:r>
              <a:rPr sz="1000" b="1" spc="60" dirty="0">
                <a:solidFill>
                  <a:srgbClr val="1ED75F"/>
                </a:solidFill>
                <a:latin typeface="Century Gothic"/>
                <a:cs typeface="Century Gothic"/>
              </a:rPr>
              <a:t>s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tools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35" dirty="0">
                <a:solidFill>
                  <a:srgbClr val="FFFFFF"/>
                </a:solidFill>
                <a:latin typeface="Verdana"/>
                <a:cs typeface="Verdana"/>
              </a:rPr>
              <a:t>to 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ge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help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eceiving  </a:t>
            </a:r>
            <a:r>
              <a:rPr sz="1000" spc="-75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ecommendations</a:t>
            </a:r>
            <a:r>
              <a:rPr sz="1000" spc="-13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ne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0" dirty="0">
                <a:solidFill>
                  <a:srgbClr val="FFFFFF"/>
                </a:solidFill>
                <a:latin typeface="Verdana"/>
                <a:cs typeface="Verdana"/>
              </a:rPr>
              <a:t>o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f</a:t>
            </a:r>
            <a:r>
              <a:rPr sz="1000" spc="-9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the  </a:t>
            </a:r>
            <a:r>
              <a:rPr sz="1000" b="1" spc="10" dirty="0">
                <a:solidFill>
                  <a:srgbClr val="1ED75F"/>
                </a:solidFill>
                <a:latin typeface="Century Gothic"/>
                <a:cs typeface="Century Gothic"/>
              </a:rPr>
              <a:t>most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expedient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25" dirty="0">
                <a:solidFill>
                  <a:srgbClr val="1ED75F"/>
                </a:solidFill>
                <a:latin typeface="Century Gothic"/>
                <a:cs typeface="Century Gothic"/>
              </a:rPr>
              <a:t>means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40" dirty="0">
                <a:solidFill>
                  <a:srgbClr val="1ED75F"/>
                </a:solidFill>
                <a:latin typeface="Century Gothic"/>
                <a:cs typeface="Century Gothic"/>
              </a:rPr>
              <a:t>is </a:t>
            </a:r>
            <a:r>
              <a:rPr sz="1000" b="1" spc="4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5" dirty="0">
                <a:solidFill>
                  <a:srgbClr val="1ED75F"/>
                </a:solidFill>
                <a:latin typeface="Century Gothic"/>
                <a:cs typeface="Century Gothic"/>
              </a:rPr>
              <a:t>through</a:t>
            </a:r>
            <a:r>
              <a:rPr sz="1000" b="1" spc="-1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dirty="0">
                <a:solidFill>
                  <a:srgbClr val="1ED75F"/>
                </a:solidFill>
                <a:latin typeface="Century Gothic"/>
                <a:cs typeface="Century Gothic"/>
              </a:rPr>
              <a:t>other</a:t>
            </a:r>
            <a:r>
              <a:rPr sz="1000" b="1" spc="-10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1000" b="1" spc="-65" dirty="0">
                <a:solidFill>
                  <a:srgbClr val="1ED75F"/>
                </a:solidFill>
                <a:latin typeface="Century Gothic"/>
                <a:cs typeface="Century Gothic"/>
              </a:rPr>
              <a:t>people</a:t>
            </a:r>
            <a:r>
              <a:rPr sz="1000" spc="-65" dirty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645249" y="603139"/>
            <a:ext cx="278066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120" dirty="0">
                <a:solidFill>
                  <a:srgbClr val="1ED75F"/>
                </a:solidFill>
                <a:latin typeface="Century Gothic"/>
                <a:cs typeface="Century Gothic"/>
              </a:rPr>
              <a:t>Why</a:t>
            </a:r>
            <a:r>
              <a:rPr sz="2000" b="1" spc="-35" dirty="0">
                <a:solidFill>
                  <a:srgbClr val="1ED75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80" dirty="0">
                <a:solidFill>
                  <a:srgbClr val="FFFFFF"/>
                </a:solidFill>
                <a:latin typeface="Century Gothic"/>
                <a:cs typeface="Century Gothic"/>
              </a:rPr>
              <a:t>this</a:t>
            </a:r>
            <a:r>
              <a:rPr sz="2000" b="1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2000" b="1" spc="5" dirty="0">
                <a:solidFill>
                  <a:srgbClr val="FFFFFF"/>
                </a:solidFill>
                <a:latin typeface="Century Gothic"/>
                <a:cs typeface="Century Gothic"/>
              </a:rPr>
              <a:t>important?</a:t>
            </a:r>
            <a:endParaRPr sz="2000">
              <a:latin typeface="Century Gothic"/>
              <a:cs typeface="Century Gothic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cc6495-3b47-4992-90ee-cb34c2b9062a_Topic"/>
  <p:tag name="EE4P_AGENDAWIZARD_CONTENT" val="/Topics for Discussion"/>
  <p:tag name="EE4P_AGENDAWIZARD_PROPERTIES" val="406.8057/310.0454/503.6943/22.7366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06ca657-6af1-413c-a5c2-b6ab8751c441_Topic"/>
  <p:tag name="EE4P_AGENDAWIZARD_CONTENT" val="/Strategic Outlook"/>
  <p:tag name="EE4P_AGENDAWIZARD_PROPERTIES" val="406.8057/275.7696/503.6943/22.7366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b6b112e-417c-48c7-89ab-c5bfd7d1d6ab_Topic"/>
  <p:tag name="EE4P_AGENDAWIZARD_CONTENT" val="/Lookback: Staffing, Learning, Recruiting"/>
  <p:tag name="EE4P_AGENDAWIZARD_PROPERTIES" val="406.8057/241.4938/503.6943/22.7366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Arrow half"/>
  <p:tag name="EE4P_LAYOUT_ID" val="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cc6495-3b47-4992-90ee-cb34c2b9062a_Topic"/>
  <p:tag name="EE4P_AGENDAWIZARD_CONTENT" val="/Topics for Discussion"/>
  <p:tag name="EE4P_AGENDAWIZARD_PROPERTIES" val="406.8057/310.0454/503.6943/22.7366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06ca657-6af1-413c-a5c2-b6ab8751c441_Topic"/>
  <p:tag name="EE4P_AGENDAWIZARD_CONTENT" val="/Strategic Outlook"/>
  <p:tag name="EE4P_AGENDAWIZARD_PROPERTIES" val="406.8057/275.7696/503.6943/22.7366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b6b112e-417c-48c7-89ab-c5bfd7d1d6ab_Topic"/>
  <p:tag name="EE4P_AGENDAWIZARD_CONTENT" val="/Lookback: Staffing, Learning, Recruiting"/>
  <p:tag name="EE4P_AGENDAWIZARD_PROPERTIES" val="406.8057/241.4938/503.6943/22.7366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cc6495-3b47-4992-90ee-cb34c2b9062a_Topic"/>
  <p:tag name="EE4P_AGENDAWIZARD_CONTENT" val="/Topics for Discussion"/>
  <p:tag name="EE4P_AGENDAWIZARD_PROPERTIES" val="406.8057/310.0454/503.6943/22.7366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YGarshSla_RDfhFnQq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PyaU8yDdVXAIaKNY4z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WJ8PlNECcVGH1bJfdC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AgileWorks Grid">
      <a:dk1>
        <a:srgbClr val="575757"/>
      </a:dk1>
      <a:lt1>
        <a:sysClr val="window" lastClr="FFFFFF"/>
      </a:lt1>
      <a:dk2>
        <a:srgbClr val="2093A6"/>
      </a:dk2>
      <a:lt2>
        <a:srgbClr val="F2F2F2"/>
      </a:lt2>
      <a:accent1>
        <a:srgbClr val="275D7E"/>
      </a:accent1>
      <a:accent2>
        <a:srgbClr val="197281"/>
      </a:accent2>
      <a:accent3>
        <a:srgbClr val="D4DF33"/>
      </a:accent3>
      <a:accent4>
        <a:srgbClr val="72D4E4"/>
      </a:accent4>
      <a:accent5>
        <a:srgbClr val="6E6F73"/>
      </a:accent5>
      <a:accent6>
        <a:srgbClr val="29BA74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87</Words>
  <Application>Microsoft Office PowerPoint</Application>
  <PresentationFormat>Widescreen</PresentationFormat>
  <Paragraphs>266</Paragraphs>
  <Slides>2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entury Gothic</vt:lpstr>
      <vt:lpstr>Times New Roman</vt:lpstr>
      <vt:lpstr>Trebuchet MS</vt:lpstr>
      <vt:lpstr>Verdana</vt:lpstr>
      <vt:lpstr>Office Theme</vt:lpstr>
      <vt:lpstr>BCG Grid 16:9</vt:lpstr>
      <vt:lpstr>think-cell Slide</vt:lpstr>
      <vt:lpstr>L&amp;D – VoC</vt:lpstr>
      <vt:lpstr>VoC Readout</vt:lpstr>
      <vt:lpstr>What is the problem?</vt:lpstr>
      <vt:lpstr>Project Goals</vt:lpstr>
      <vt:lpstr>Learners Executive Summary</vt:lpstr>
      <vt:lpstr>Root Cause | Overall, there is a gap between what learners expect and  what BCG delivers.</vt:lpstr>
      <vt:lpstr>These are the Most Impactful Pain Points for Learners</vt:lpstr>
      <vt:lpstr>Three Key Priorities  for 2022</vt:lpstr>
      <vt:lpstr>Lack of Personalized Learnings</vt:lpstr>
      <vt:lpstr>Missing quick &amp; simple learnings</vt:lpstr>
      <vt:lpstr>Poor discovery, navigation, usability</vt:lpstr>
      <vt:lpstr>Learning Coordinators Executive Summary</vt:lpstr>
      <vt:lpstr>End-to-end Feedback Process Includes Pain Points Throughout, Sending  Reminders is the Largest Shared Issue</vt:lpstr>
      <vt:lpstr>Three Key Priorities  for 2022</vt:lpstr>
      <vt:lpstr>Aid Survey Setup Cognitive Load</vt:lpstr>
      <vt:lpstr>Easier Custom Reminders</vt:lpstr>
      <vt:lpstr>Improve Sending Detailed Reports</vt:lpstr>
      <vt:lpstr>VoC Readout</vt:lpstr>
      <vt:lpstr>L&amp;D Milestones| Our path to 2022 digital priorities </vt:lpstr>
      <vt:lpstr>Thank you.</vt:lpstr>
      <vt:lpstr>Appendix</vt:lpstr>
      <vt:lpstr>Our Approach | Conducted User Research with MERGE*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2297_01_BCG Learners + Admins Findings 2021 v.3</dc:title>
  <dc:creator>Oliveira, Thiago</dc:creator>
  <cp:lastModifiedBy>Oliveira, Thiago</cp:lastModifiedBy>
  <cp:revision>2</cp:revision>
  <dcterms:created xsi:type="dcterms:W3CDTF">2021-10-12T15:21:00Z</dcterms:created>
  <dcterms:modified xsi:type="dcterms:W3CDTF">2021-10-12T19:5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or">
    <vt:lpwstr>Google</vt:lpwstr>
  </property>
</Properties>
</file>